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81" r:id="rId2"/>
    <p:sldId id="282" r:id="rId3"/>
    <p:sldId id="283" r:id="rId4"/>
    <p:sldId id="286" r:id="rId5"/>
    <p:sldId id="285" r:id="rId6"/>
    <p:sldId id="287" r:id="rId7"/>
    <p:sldId id="288" r:id="rId8"/>
    <p:sldId id="294" r:id="rId9"/>
    <p:sldId id="290" r:id="rId10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04FF464B-9DB7-4BC3-9902-DB8054547AFB}">
          <p14:sldIdLst>
            <p14:sldId id="281"/>
            <p14:sldId id="282"/>
            <p14:sldId id="283"/>
            <p14:sldId id="286"/>
            <p14:sldId id="285"/>
            <p14:sldId id="287"/>
            <p14:sldId id="288"/>
            <p14:sldId id="294"/>
            <p14:sldId id="290"/>
          </p14:sldIdLst>
        </p14:section>
        <p14:section name="Tips &amp; tricks" id="{24F43FB3-B311-41A6-9DB5-2FAAC8A4C16E}">
          <p14:sldIdLst/>
        </p14:section>
        <p14:section name="Examples" id="{CE6DCDBE-8F98-4A54-BF80-BF35D4816DF0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79A"/>
    <a:srgbClr val="F3F2F1"/>
    <a:srgbClr val="E6E6E6"/>
    <a:srgbClr val="FFFFFF"/>
    <a:srgbClr val="FF9900"/>
    <a:srgbClr val="1C768F"/>
    <a:srgbClr val="09B2AC"/>
    <a:srgbClr val="014A6B"/>
    <a:srgbClr val="4DC7D2"/>
    <a:srgbClr val="04B1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38" autoAdjust="0"/>
    <p:restoredTop sz="89123" autoAdjust="0"/>
  </p:normalViewPr>
  <p:slideViewPr>
    <p:cSldViewPr snapToGrid="0" showGuides="1">
      <p:cViewPr varScale="1">
        <p:scale>
          <a:sx n="118" d="100"/>
          <a:sy n="118" d="100"/>
        </p:scale>
        <p:origin x="224" y="528"/>
      </p:cViewPr>
      <p:guideLst/>
    </p:cSldViewPr>
  </p:slideViewPr>
  <p:outlineViewPr>
    <p:cViewPr>
      <p:scale>
        <a:sx n="33" d="100"/>
        <a:sy n="33" d="100"/>
      </p:scale>
      <p:origin x="0" y="-1089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7398"/>
    </p:cViewPr>
  </p:sorterViewPr>
  <p:notesViewPr>
    <p:cSldViewPr snapToGrid="0">
      <p:cViewPr varScale="1">
        <p:scale>
          <a:sx n="120" d="100"/>
          <a:sy n="120" d="100"/>
        </p:scale>
        <p:origin x="4482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028EFDA-A75E-49AB-9C1C-E96D5D82019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Work Sans" pitchFamily="2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9DB3184-593B-4E78-B58C-DA62E4A2A4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51B798-6D2C-417B-AF46-ECB70983C150}" type="datetimeFigureOut">
              <a:rPr lang="en-US" smtClean="0">
                <a:latin typeface="Work Sans" pitchFamily="2" charset="0"/>
              </a:rPr>
              <a:t>2/17/25</a:t>
            </a:fld>
            <a:endParaRPr lang="en-US" dirty="0">
              <a:latin typeface="Work Sans" pitchFamily="2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015F87B-7E94-4DDB-9703-3B62B77C5F8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Work Sans" pitchFamily="2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C9CA73-2501-4D43-9D8D-E09D9E3F3DF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651251-5CB6-4896-AAF1-C5E7C80339FD}" type="slidenum">
              <a:rPr lang="en-US" smtClean="0">
                <a:latin typeface="Work Sans" pitchFamily="2" charset="0"/>
              </a:rPr>
              <a:t>‹Nr.›</a:t>
            </a:fld>
            <a:endParaRPr lang="en-US" dirty="0">
              <a:latin typeface="Work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4844965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Work San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Work Sans" pitchFamily="2" charset="0"/>
              </a:defRPr>
            </a:lvl1pPr>
          </a:lstStyle>
          <a:p>
            <a:fld id="{0D00A665-AB63-487C-A689-A96D5AA0C864}" type="datetimeFigureOut">
              <a:rPr lang="en-US" smtClean="0"/>
              <a:pPr/>
              <a:t>2/17/25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55821" y="1143000"/>
            <a:ext cx="3946358" cy="221982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Work Sans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Work Sans" pitchFamily="2" charset="0"/>
              </a:defRPr>
            </a:lvl1pPr>
          </a:lstStyle>
          <a:p>
            <a:fld id="{04629F0A-9DE2-44AB-9A84-CC28BAF7B39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26656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kern="1200">
        <a:solidFill>
          <a:schemeClr val="accent1"/>
        </a:solidFill>
        <a:latin typeface="Work Sans SemiBold" pitchFamily="2" charset="0"/>
        <a:ea typeface="+mn-ea"/>
        <a:cs typeface="+mn-cs"/>
      </a:defRPr>
    </a:lvl1pPr>
    <a:lvl2pPr marL="180975" indent="-180975" algn="l" defTabSz="914400" rtl="0" eaLnBrk="1" latinLnBrk="0" hangingPunct="1">
      <a:buClr>
        <a:schemeClr val="accent1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Work Sans" pitchFamily="2" charset="0"/>
        <a:ea typeface="+mn-ea"/>
        <a:cs typeface="+mn-cs"/>
      </a:defRPr>
    </a:lvl2pPr>
    <a:lvl3pPr marL="360363" indent="-179388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Work Sans" pitchFamily="2" charset="0"/>
        <a:ea typeface="+mn-ea"/>
        <a:cs typeface="+mn-cs"/>
      </a:defRPr>
    </a:lvl3pPr>
    <a:lvl4pPr marL="541338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Work Sans" pitchFamily="2" charset="0"/>
        <a:ea typeface="+mn-ea"/>
        <a:cs typeface="+mn-cs"/>
      </a:defRPr>
    </a:lvl4pPr>
    <a:lvl5pPr marL="722313" indent="-180975" algn="l" defTabSz="914400" rtl="0" eaLnBrk="1" latinLnBrk="0" hangingPunct="1">
      <a:buClr>
        <a:schemeClr val="bg2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Work Sans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8026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9167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5741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1615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07732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69193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8957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1264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629F0A-9DE2-44AB-9A84-CC28BAF7B397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1030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7.png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7.png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svg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ihandform 20">
            <a:extLst>
              <a:ext uri="{FF2B5EF4-FFF2-40B4-BE49-F238E27FC236}">
                <a16:creationId xmlns:a16="http://schemas.microsoft.com/office/drawing/2014/main" id="{C5FE2E1F-BA4B-910C-42AB-316297CD9C27}"/>
              </a:ext>
            </a:extLst>
          </p:cNvPr>
          <p:cNvSpPr/>
          <p:nvPr userDrawn="1"/>
        </p:nvSpPr>
        <p:spPr>
          <a:xfrm rot="15744484">
            <a:off x="992685" y="-1588652"/>
            <a:ext cx="3521947" cy="6002043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4528868"/>
              <a:gd name="connsiteY0" fmla="*/ 0 h 4944912"/>
              <a:gd name="connsiteX1" fmla="*/ 4528868 w 4528868"/>
              <a:gd name="connsiteY1" fmla="*/ 8626 h 4944912"/>
              <a:gd name="connsiteX2" fmla="*/ 4520241 w 4528868"/>
              <a:gd name="connsiteY2" fmla="*/ 4416724 h 4944912"/>
              <a:gd name="connsiteX3" fmla="*/ 2453788 w 4528868"/>
              <a:gd name="connsiteY3" fmla="*/ 4944912 h 4944912"/>
              <a:gd name="connsiteX4" fmla="*/ 0 w 4528868"/>
              <a:gd name="connsiteY4" fmla="*/ 0 h 4944912"/>
              <a:gd name="connsiteX0" fmla="*/ 0 w 4528868"/>
              <a:gd name="connsiteY0" fmla="*/ 0 h 4949837"/>
              <a:gd name="connsiteX1" fmla="*/ 4528868 w 4528868"/>
              <a:gd name="connsiteY1" fmla="*/ 8626 h 4949837"/>
              <a:gd name="connsiteX2" fmla="*/ 2411228 w 4528868"/>
              <a:gd name="connsiteY2" fmla="*/ 4949837 h 4949837"/>
              <a:gd name="connsiteX3" fmla="*/ 2453788 w 4528868"/>
              <a:gd name="connsiteY3" fmla="*/ 4944912 h 4949837"/>
              <a:gd name="connsiteX4" fmla="*/ 0 w 4528868"/>
              <a:gd name="connsiteY4" fmla="*/ 0 h 4949837"/>
              <a:gd name="connsiteX0" fmla="*/ 0 w 3196124"/>
              <a:gd name="connsiteY0" fmla="*/ 0 h 4949837"/>
              <a:gd name="connsiteX1" fmla="*/ 3196124 w 3196124"/>
              <a:gd name="connsiteY1" fmla="*/ 495434 h 4949837"/>
              <a:gd name="connsiteX2" fmla="*/ 2411228 w 3196124"/>
              <a:gd name="connsiteY2" fmla="*/ 4949837 h 4949837"/>
              <a:gd name="connsiteX3" fmla="*/ 2453788 w 3196124"/>
              <a:gd name="connsiteY3" fmla="*/ 4944912 h 4949837"/>
              <a:gd name="connsiteX4" fmla="*/ 0 w 3196124"/>
              <a:gd name="connsiteY4" fmla="*/ 0 h 4949837"/>
              <a:gd name="connsiteX0" fmla="*/ 0 w 2556957"/>
              <a:gd name="connsiteY0" fmla="*/ 0 h 4949837"/>
              <a:gd name="connsiteX1" fmla="*/ 2556957 w 2556957"/>
              <a:gd name="connsiteY1" fmla="*/ 445491 h 4949837"/>
              <a:gd name="connsiteX2" fmla="*/ 2411228 w 2556957"/>
              <a:gd name="connsiteY2" fmla="*/ 4949837 h 4949837"/>
              <a:gd name="connsiteX3" fmla="*/ 2453788 w 2556957"/>
              <a:gd name="connsiteY3" fmla="*/ 4944912 h 4949837"/>
              <a:gd name="connsiteX4" fmla="*/ 0 w 2556957"/>
              <a:gd name="connsiteY4" fmla="*/ 0 h 4949837"/>
              <a:gd name="connsiteX0" fmla="*/ 0 w 3079177"/>
              <a:gd name="connsiteY0" fmla="*/ 0 h 4949837"/>
              <a:gd name="connsiteX1" fmla="*/ 3079177 w 3079177"/>
              <a:gd name="connsiteY1" fmla="*/ 452872 h 4949837"/>
              <a:gd name="connsiteX2" fmla="*/ 2411228 w 3079177"/>
              <a:gd name="connsiteY2" fmla="*/ 4949837 h 4949837"/>
              <a:gd name="connsiteX3" fmla="*/ 2453788 w 3079177"/>
              <a:gd name="connsiteY3" fmla="*/ 4944912 h 4949837"/>
              <a:gd name="connsiteX4" fmla="*/ 0 w 3079177"/>
              <a:gd name="connsiteY4" fmla="*/ 0 h 4949837"/>
              <a:gd name="connsiteX0" fmla="*/ 0 w 3079177"/>
              <a:gd name="connsiteY0" fmla="*/ 0 h 4983024"/>
              <a:gd name="connsiteX1" fmla="*/ 3079177 w 3079177"/>
              <a:gd name="connsiteY1" fmla="*/ 452872 h 4983024"/>
              <a:gd name="connsiteX2" fmla="*/ 2411228 w 3079177"/>
              <a:gd name="connsiteY2" fmla="*/ 4949837 h 4983024"/>
              <a:gd name="connsiteX3" fmla="*/ 2219699 w 3079177"/>
              <a:gd name="connsiteY3" fmla="*/ 4983024 h 4983024"/>
              <a:gd name="connsiteX4" fmla="*/ 0 w 3079177"/>
              <a:gd name="connsiteY4" fmla="*/ 0 h 4983024"/>
              <a:gd name="connsiteX0" fmla="*/ 0 w 3079177"/>
              <a:gd name="connsiteY0" fmla="*/ 0 h 5425792"/>
              <a:gd name="connsiteX1" fmla="*/ 3079177 w 3079177"/>
              <a:gd name="connsiteY1" fmla="*/ 452872 h 5425792"/>
              <a:gd name="connsiteX2" fmla="*/ 2716116 w 3079177"/>
              <a:gd name="connsiteY2" fmla="*/ 5425792 h 5425792"/>
              <a:gd name="connsiteX3" fmla="*/ 2219699 w 3079177"/>
              <a:gd name="connsiteY3" fmla="*/ 4983024 h 5425792"/>
              <a:gd name="connsiteX4" fmla="*/ 0 w 3079177"/>
              <a:gd name="connsiteY4" fmla="*/ 0 h 5425792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117286"/>
              <a:gd name="connsiteY0" fmla="*/ 0 h 5042904"/>
              <a:gd name="connsiteX1" fmla="*/ 3117286 w 3117286"/>
              <a:gd name="connsiteY1" fmla="*/ 476607 h 5042904"/>
              <a:gd name="connsiteX2" fmla="*/ 2470436 w 3117286"/>
              <a:gd name="connsiteY2" fmla="*/ 5042904 h 5042904"/>
              <a:gd name="connsiteX3" fmla="*/ 2219699 w 3117286"/>
              <a:gd name="connsiteY3" fmla="*/ 4983024 h 5042904"/>
              <a:gd name="connsiteX4" fmla="*/ 0 w 3117286"/>
              <a:gd name="connsiteY4" fmla="*/ 0 h 5042904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525242 w 3170361"/>
              <a:gd name="connsiteY3" fmla="*/ 4953653 h 4963573"/>
              <a:gd name="connsiteX4" fmla="*/ 0 w 3170361"/>
              <a:gd name="connsiteY4" fmla="*/ 0 h 4963573"/>
              <a:gd name="connsiteX0" fmla="*/ 0 w 3173082"/>
              <a:gd name="connsiteY0" fmla="*/ 0 h 4963573"/>
              <a:gd name="connsiteX1" fmla="*/ 3173082 w 3173082"/>
              <a:gd name="connsiteY1" fmla="*/ 378537 h 4963573"/>
              <a:gd name="connsiteX2" fmla="*/ 2523511 w 3173082"/>
              <a:gd name="connsiteY2" fmla="*/ 4963573 h 4963573"/>
              <a:gd name="connsiteX3" fmla="*/ 2525242 w 3173082"/>
              <a:gd name="connsiteY3" fmla="*/ 4953653 h 4963573"/>
              <a:gd name="connsiteX4" fmla="*/ 0 w 3173082"/>
              <a:gd name="connsiteY4" fmla="*/ 0 h 496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3082" h="4963573">
                <a:moveTo>
                  <a:pt x="0" y="0"/>
                </a:moveTo>
                <a:lnTo>
                  <a:pt x="3173082" y="378537"/>
                </a:lnTo>
                <a:cubicBezTo>
                  <a:pt x="2987832" y="1816056"/>
                  <a:pt x="2718969" y="3527305"/>
                  <a:pt x="2523511" y="4963573"/>
                </a:cubicBezTo>
                <a:lnTo>
                  <a:pt x="2525242" y="49536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9000">
                <a:srgbClr val="0C122B"/>
              </a:gs>
              <a:gs pos="100000">
                <a:srgbClr val="DC387C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495B2FBE-DA85-5A91-A46B-089E402B4D2A}"/>
              </a:ext>
            </a:extLst>
          </p:cNvPr>
          <p:cNvSpPr/>
          <p:nvPr userDrawn="1"/>
        </p:nvSpPr>
        <p:spPr>
          <a:xfrm rot="6527892">
            <a:off x="6058682" y="577486"/>
            <a:ext cx="5588974" cy="7839322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3647790"/>
              <a:gd name="connsiteY0" fmla="*/ 1476886 h 5365635"/>
              <a:gd name="connsiteX1" fmla="*/ 3647790 w 3647790"/>
              <a:gd name="connsiteY1" fmla="*/ 5 h 5365635"/>
              <a:gd name="connsiteX2" fmla="*/ 3639163 w 3647790"/>
              <a:gd name="connsiteY2" fmla="*/ 4408103 h 5365635"/>
              <a:gd name="connsiteX3" fmla="*/ 2310695 w 3647790"/>
              <a:gd name="connsiteY3" fmla="*/ 5365635 h 5365635"/>
              <a:gd name="connsiteX4" fmla="*/ 0 w 3647790"/>
              <a:gd name="connsiteY4" fmla="*/ 1476886 h 5365635"/>
              <a:gd name="connsiteX0" fmla="*/ 0 w 3639168"/>
              <a:gd name="connsiteY0" fmla="*/ 818248 h 4706997"/>
              <a:gd name="connsiteX1" fmla="*/ 2579116 w 3639168"/>
              <a:gd name="connsiteY1" fmla="*/ 8 h 4706997"/>
              <a:gd name="connsiteX2" fmla="*/ 3639163 w 3639168"/>
              <a:gd name="connsiteY2" fmla="*/ 3749465 h 4706997"/>
              <a:gd name="connsiteX3" fmla="*/ 2310695 w 3639168"/>
              <a:gd name="connsiteY3" fmla="*/ 4706997 h 4706997"/>
              <a:gd name="connsiteX4" fmla="*/ 0 w 3639168"/>
              <a:gd name="connsiteY4" fmla="*/ 818248 h 4706997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85906 h 4674655"/>
              <a:gd name="connsiteX1" fmla="*/ 2591107 w 3639168"/>
              <a:gd name="connsiteY1" fmla="*/ 0 h 4674655"/>
              <a:gd name="connsiteX2" fmla="*/ 3639163 w 3639168"/>
              <a:gd name="connsiteY2" fmla="*/ 3717123 h 4674655"/>
              <a:gd name="connsiteX3" fmla="*/ 2310695 w 3639168"/>
              <a:gd name="connsiteY3" fmla="*/ 4674655 h 4674655"/>
              <a:gd name="connsiteX4" fmla="*/ 0 w 3639168"/>
              <a:gd name="connsiteY4" fmla="*/ 785906 h 4674655"/>
              <a:gd name="connsiteX0" fmla="*/ 0 w 3639171"/>
              <a:gd name="connsiteY0" fmla="*/ 785906 h 4674655"/>
              <a:gd name="connsiteX1" fmla="*/ 2591107 w 3639171"/>
              <a:gd name="connsiteY1" fmla="*/ 0 h 4674655"/>
              <a:gd name="connsiteX2" fmla="*/ 3639163 w 3639171"/>
              <a:gd name="connsiteY2" fmla="*/ 3717123 h 4674655"/>
              <a:gd name="connsiteX3" fmla="*/ 2310695 w 3639171"/>
              <a:gd name="connsiteY3" fmla="*/ 4674655 h 4674655"/>
              <a:gd name="connsiteX4" fmla="*/ 0 w 3639171"/>
              <a:gd name="connsiteY4" fmla="*/ 785906 h 4674655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1"/>
              <a:gd name="connsiteY0" fmla="*/ 783704 h 4672453"/>
              <a:gd name="connsiteX1" fmla="*/ 2584062 w 3639171"/>
              <a:gd name="connsiteY1" fmla="*/ 0 h 4672453"/>
              <a:gd name="connsiteX2" fmla="*/ 3639163 w 3639171"/>
              <a:gd name="connsiteY2" fmla="*/ 3714921 h 4672453"/>
              <a:gd name="connsiteX3" fmla="*/ 2310695 w 3639171"/>
              <a:gd name="connsiteY3" fmla="*/ 4672453 h 4672453"/>
              <a:gd name="connsiteX4" fmla="*/ 0 w 3639171"/>
              <a:gd name="connsiteY4" fmla="*/ 783704 h 4672453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171" h="4685387">
                <a:moveTo>
                  <a:pt x="0" y="796638"/>
                </a:moveTo>
                <a:cubicBezTo>
                  <a:pt x="1668536" y="295230"/>
                  <a:pt x="1265254" y="376208"/>
                  <a:pt x="2579266" y="0"/>
                </a:cubicBezTo>
                <a:cubicBezTo>
                  <a:pt x="2879644" y="1417913"/>
                  <a:pt x="3642039" y="2258489"/>
                  <a:pt x="3639163" y="3727855"/>
                </a:cubicBezTo>
                <a:lnTo>
                  <a:pt x="2310695" y="4685387"/>
                </a:lnTo>
                <a:lnTo>
                  <a:pt x="0" y="796638"/>
                </a:lnTo>
                <a:close/>
              </a:path>
            </a:pathLst>
          </a:custGeom>
          <a:gradFill>
            <a:gsLst>
              <a:gs pos="39000">
                <a:srgbClr val="0C122B">
                  <a:lumMod val="100000"/>
                  <a:alpha val="70368"/>
                </a:srgbClr>
              </a:gs>
              <a:gs pos="100000">
                <a:srgbClr val="58AED5"/>
              </a:gs>
            </a:gsLst>
            <a:lin ang="13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8" name="Gerade Verbindung 17">
            <a:extLst>
              <a:ext uri="{FF2B5EF4-FFF2-40B4-BE49-F238E27FC236}">
                <a16:creationId xmlns:a16="http://schemas.microsoft.com/office/drawing/2014/main" id="{CE6B602D-1834-1199-FC06-DFC1A06199E8}"/>
              </a:ext>
            </a:extLst>
          </p:cNvPr>
          <p:cNvCxnSpPr>
            <a:cxnSpLocks/>
          </p:cNvCxnSpPr>
          <p:nvPr userDrawn="1"/>
        </p:nvCxnSpPr>
        <p:spPr>
          <a:xfrm>
            <a:off x="7684004" y="5752617"/>
            <a:ext cx="0" cy="785371"/>
          </a:xfrm>
          <a:prstGeom prst="line">
            <a:avLst/>
          </a:prstGeom>
          <a:ln w="3175">
            <a:solidFill>
              <a:srgbClr val="706F6F">
                <a:alpha val="40238"/>
              </a:srgb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Grafik 22">
            <a:extLst>
              <a:ext uri="{FF2B5EF4-FFF2-40B4-BE49-F238E27FC236}">
                <a16:creationId xmlns:a16="http://schemas.microsoft.com/office/drawing/2014/main" id="{145242E5-EC76-736A-7520-0D9BAF2730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155" t="16497" r="15034" b="16800"/>
          <a:stretch/>
        </p:blipFill>
        <p:spPr>
          <a:xfrm>
            <a:off x="8478607" y="409863"/>
            <a:ext cx="3037175" cy="1427242"/>
          </a:xfrm>
          <a:prstGeom prst="rect">
            <a:avLst/>
          </a:prstGeom>
        </p:spPr>
      </p:pic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DD786D1-EA8F-18AF-C947-058C32712C66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95325" y="3323467"/>
            <a:ext cx="9360000" cy="1538113"/>
          </a:xfrm>
          <a:noFill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Aft>
                <a:spcPts val="1800"/>
              </a:spcAft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1800"/>
              </a:spcAft>
              <a:buNone/>
              <a:defRPr sz="1600" b="0">
                <a:solidFill>
                  <a:schemeClr val="bg1"/>
                </a:solidFill>
                <a:latin typeface="+mj-lt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6pPr>
            <a:lvl7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Headline</a:t>
            </a:r>
          </a:p>
          <a:p>
            <a:pPr lvl="1"/>
            <a:r>
              <a:rPr lang="en-US" noProof="0" dirty="0"/>
              <a:t>Subheading</a:t>
            </a:r>
          </a:p>
          <a:p>
            <a:pPr lvl="2"/>
            <a:r>
              <a:rPr lang="en-US" noProof="0" dirty="0"/>
              <a:t>Title Name Surname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B9B376E6-5EB9-ED31-4AAA-3F62EE622FFB}"/>
              </a:ext>
            </a:extLst>
          </p:cNvPr>
          <p:cNvGrpSpPr/>
          <p:nvPr userDrawn="1"/>
        </p:nvGrpSpPr>
        <p:grpSpPr>
          <a:xfrm>
            <a:off x="0" y="5430644"/>
            <a:ext cx="12192000" cy="1427356"/>
            <a:chOff x="0" y="5430644"/>
            <a:chExt cx="12192000" cy="1427356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3C679E71-92E7-BEFF-131A-ACA076FE28DC}"/>
                </a:ext>
              </a:extLst>
            </p:cNvPr>
            <p:cNvGrpSpPr/>
            <p:nvPr userDrawn="1"/>
          </p:nvGrpSpPr>
          <p:grpSpPr>
            <a:xfrm>
              <a:off x="0" y="5430644"/>
              <a:ext cx="12192000" cy="1427356"/>
              <a:chOff x="0" y="5430644"/>
              <a:chExt cx="12192000" cy="1427356"/>
            </a:xfrm>
          </p:grpSpPr>
          <p:sp>
            <p:nvSpPr>
              <p:cNvPr id="3" name="Rechteck 2">
                <a:extLst>
                  <a:ext uri="{FF2B5EF4-FFF2-40B4-BE49-F238E27FC236}">
                    <a16:creationId xmlns:a16="http://schemas.microsoft.com/office/drawing/2014/main" id="{048A8D31-A876-F461-0E9A-AE6175E4AEE3}"/>
                  </a:ext>
                </a:extLst>
              </p:cNvPr>
              <p:cNvSpPr/>
              <p:nvPr userDrawn="1"/>
            </p:nvSpPr>
            <p:spPr>
              <a:xfrm>
                <a:off x="0" y="5430644"/>
                <a:ext cx="12192000" cy="14273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b="0" i="0" dirty="0">
                  <a:latin typeface="Work Sans" pitchFamily="2" charset="77"/>
                </a:endParaRPr>
              </a:p>
            </p:txBody>
          </p:sp>
          <p:sp>
            <p:nvSpPr>
              <p:cNvPr id="4" name="Textfeld 3">
                <a:extLst>
                  <a:ext uri="{FF2B5EF4-FFF2-40B4-BE49-F238E27FC236}">
                    <a16:creationId xmlns:a16="http://schemas.microsoft.com/office/drawing/2014/main" id="{AC6FB37F-BE40-480C-65D7-AEC9FAEF2DD7}"/>
                  </a:ext>
                </a:extLst>
              </p:cNvPr>
              <p:cNvSpPr txBox="1"/>
              <p:nvPr userDrawn="1"/>
            </p:nvSpPr>
            <p:spPr>
              <a:xfrm>
                <a:off x="731321" y="5692126"/>
                <a:ext cx="1357103" cy="246221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algn="l" fontAlgn="base"/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Partner 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+mn-lt"/>
                  </a:rPr>
                  <a:t>institutions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:</a:t>
                </a:r>
              </a:p>
            </p:txBody>
          </p:sp>
          <p:grpSp>
            <p:nvGrpSpPr>
              <p:cNvPr id="6" name="Gruppieren 5">
                <a:extLst>
                  <a:ext uri="{FF2B5EF4-FFF2-40B4-BE49-F238E27FC236}">
                    <a16:creationId xmlns:a16="http://schemas.microsoft.com/office/drawing/2014/main" id="{1B9A0ED3-2CA1-2D33-57AB-56BCA2D9430C}"/>
                  </a:ext>
                </a:extLst>
              </p:cNvPr>
              <p:cNvGrpSpPr/>
              <p:nvPr userDrawn="1"/>
            </p:nvGrpSpPr>
            <p:grpSpPr>
              <a:xfrm>
                <a:off x="731322" y="6029988"/>
                <a:ext cx="6427081" cy="433766"/>
                <a:chOff x="731322" y="6031158"/>
                <a:chExt cx="7216569" cy="487049"/>
              </a:xfrm>
            </p:grpSpPr>
            <p:pic>
              <p:nvPicPr>
                <p:cNvPr id="10" name="Grafik 9">
                  <a:extLst>
                    <a:ext uri="{FF2B5EF4-FFF2-40B4-BE49-F238E27FC236}">
                      <a16:creationId xmlns:a16="http://schemas.microsoft.com/office/drawing/2014/main" id="{6D257E94-D538-EE80-2760-78D15670DC00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1322" y="6135085"/>
                  <a:ext cx="1423713" cy="261184"/>
                </a:xfrm>
                <a:prstGeom prst="rect">
                  <a:avLst/>
                </a:prstGeom>
              </p:spPr>
            </p:pic>
            <p:pic>
              <p:nvPicPr>
                <p:cNvPr id="12" name="Grafik 11">
                  <a:extLst>
                    <a:ext uri="{FF2B5EF4-FFF2-40B4-BE49-F238E27FC236}">
                      <a16:creationId xmlns:a16="http://schemas.microsoft.com/office/drawing/2014/main" id="{2DF5C42F-244B-08CD-4F1D-C5B1AF56273C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08503" y="6052045"/>
                  <a:ext cx="1593623" cy="466162"/>
                </a:xfrm>
                <a:prstGeom prst="rect">
                  <a:avLst/>
                </a:prstGeom>
              </p:spPr>
            </p:pic>
            <p:pic>
              <p:nvPicPr>
                <p:cNvPr id="14" name="Grafik 13">
                  <a:extLst>
                    <a:ext uri="{FF2B5EF4-FFF2-40B4-BE49-F238E27FC236}">
                      <a16:creationId xmlns:a16="http://schemas.microsoft.com/office/drawing/2014/main" id="{FC219FFA-21DC-3C7C-EAD5-8D539C879334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23982" y="6047977"/>
                  <a:ext cx="1523909" cy="435402"/>
                </a:xfrm>
                <a:prstGeom prst="rect">
                  <a:avLst/>
                </a:prstGeom>
              </p:spPr>
            </p:pic>
            <p:pic>
              <p:nvPicPr>
                <p:cNvPr id="16" name="Grafik 15">
                  <a:extLst>
                    <a:ext uri="{FF2B5EF4-FFF2-40B4-BE49-F238E27FC236}">
                      <a16:creationId xmlns:a16="http://schemas.microsoft.com/office/drawing/2014/main" id="{1B93B73F-D9A0-081E-FAC7-A7C7EEC6A349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37681" y="6031158"/>
                  <a:ext cx="1099348" cy="461016"/>
                </a:xfrm>
                <a:prstGeom prst="rect">
                  <a:avLst/>
                </a:prstGeom>
              </p:spPr>
            </p:pic>
          </p:grpSp>
          <p:sp>
            <p:nvSpPr>
              <p:cNvPr id="7" name="Textfeld 6">
                <a:extLst>
                  <a:ext uri="{FF2B5EF4-FFF2-40B4-BE49-F238E27FC236}">
                    <a16:creationId xmlns:a16="http://schemas.microsoft.com/office/drawing/2014/main" id="{FF50D5AA-41A2-9894-7F5B-85ABE6D41954}"/>
                  </a:ext>
                </a:extLst>
              </p:cNvPr>
              <p:cNvSpPr txBox="1"/>
              <p:nvPr userDrawn="1"/>
            </p:nvSpPr>
            <p:spPr>
              <a:xfrm>
                <a:off x="8176924" y="5692126"/>
                <a:ext cx="1684115" cy="246221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algn="l" fontAlgn="base"/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+mn-lt"/>
                  </a:rPr>
                  <a:t>Institutionally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 funded by:</a:t>
                </a:r>
              </a:p>
            </p:txBody>
          </p:sp>
          <p:pic>
            <p:nvPicPr>
              <p:cNvPr id="9" name="Grafik 8">
                <a:extLst>
                  <a:ext uri="{FF2B5EF4-FFF2-40B4-BE49-F238E27FC236}">
                    <a16:creationId xmlns:a16="http://schemas.microsoft.com/office/drawing/2014/main" id="{A604B93E-C49E-F2A1-8312-DB27D88A5E48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rcRect t="30047"/>
              <a:stretch/>
            </p:blipFill>
            <p:spPr>
              <a:xfrm>
                <a:off x="9665184" y="6001246"/>
                <a:ext cx="2127796" cy="481767"/>
              </a:xfrm>
              <a:prstGeom prst="rect">
                <a:avLst/>
              </a:prstGeom>
            </p:spPr>
          </p:pic>
          <p:pic>
            <p:nvPicPr>
              <p:cNvPr id="5" name="Grafik 4">
                <a:extLst>
                  <a:ext uri="{FF2B5EF4-FFF2-40B4-BE49-F238E27FC236}">
                    <a16:creationId xmlns:a16="http://schemas.microsoft.com/office/drawing/2014/main" id="{B8645CB5-158B-FB2E-7D7B-A03D30F21C1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 r="12490"/>
              <a:stretch/>
            </p:blipFill>
            <p:spPr>
              <a:xfrm>
                <a:off x="8008316" y="5871131"/>
                <a:ext cx="1269095" cy="897762"/>
              </a:xfrm>
              <a:prstGeom prst="rect">
                <a:avLst/>
              </a:prstGeom>
            </p:spPr>
          </p:pic>
        </p:grpSp>
        <p:cxnSp>
          <p:nvCxnSpPr>
            <p:cNvPr id="2" name="Gerade Verbindung 17">
              <a:extLst>
                <a:ext uri="{FF2B5EF4-FFF2-40B4-BE49-F238E27FC236}">
                  <a16:creationId xmlns:a16="http://schemas.microsoft.com/office/drawing/2014/main" id="{7217529D-03C6-0160-AE7B-081A54AB9A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36404" y="5769447"/>
              <a:ext cx="0" cy="785371"/>
            </a:xfrm>
            <a:prstGeom prst="line">
              <a:avLst/>
            </a:prstGeom>
            <a:ln w="3175">
              <a:solidFill>
                <a:srgbClr val="706F6F">
                  <a:alpha val="40238"/>
                </a:srgb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49338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 userDrawn="1">
          <p15:clr>
            <a:srgbClr val="FBAE40"/>
          </p15:clr>
        </p15:guide>
        <p15:guide id="2" pos="7242" userDrawn="1">
          <p15:clr>
            <a:srgbClr val="FBAE40"/>
          </p15:clr>
        </p15:guide>
        <p15:guide id="3" orient="horz" pos="306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ihandform 20">
            <a:extLst>
              <a:ext uri="{FF2B5EF4-FFF2-40B4-BE49-F238E27FC236}">
                <a16:creationId xmlns:a16="http://schemas.microsoft.com/office/drawing/2014/main" id="{C5FE2E1F-BA4B-910C-42AB-316297CD9C27}"/>
              </a:ext>
            </a:extLst>
          </p:cNvPr>
          <p:cNvSpPr/>
          <p:nvPr userDrawn="1"/>
        </p:nvSpPr>
        <p:spPr>
          <a:xfrm rot="15744484">
            <a:off x="992685" y="-1588652"/>
            <a:ext cx="3521947" cy="6002043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4528868"/>
              <a:gd name="connsiteY0" fmla="*/ 0 h 4944912"/>
              <a:gd name="connsiteX1" fmla="*/ 4528868 w 4528868"/>
              <a:gd name="connsiteY1" fmla="*/ 8626 h 4944912"/>
              <a:gd name="connsiteX2" fmla="*/ 4520241 w 4528868"/>
              <a:gd name="connsiteY2" fmla="*/ 4416724 h 4944912"/>
              <a:gd name="connsiteX3" fmla="*/ 2453788 w 4528868"/>
              <a:gd name="connsiteY3" fmla="*/ 4944912 h 4944912"/>
              <a:gd name="connsiteX4" fmla="*/ 0 w 4528868"/>
              <a:gd name="connsiteY4" fmla="*/ 0 h 4944912"/>
              <a:gd name="connsiteX0" fmla="*/ 0 w 4528868"/>
              <a:gd name="connsiteY0" fmla="*/ 0 h 4949837"/>
              <a:gd name="connsiteX1" fmla="*/ 4528868 w 4528868"/>
              <a:gd name="connsiteY1" fmla="*/ 8626 h 4949837"/>
              <a:gd name="connsiteX2" fmla="*/ 2411228 w 4528868"/>
              <a:gd name="connsiteY2" fmla="*/ 4949837 h 4949837"/>
              <a:gd name="connsiteX3" fmla="*/ 2453788 w 4528868"/>
              <a:gd name="connsiteY3" fmla="*/ 4944912 h 4949837"/>
              <a:gd name="connsiteX4" fmla="*/ 0 w 4528868"/>
              <a:gd name="connsiteY4" fmla="*/ 0 h 4949837"/>
              <a:gd name="connsiteX0" fmla="*/ 0 w 3196124"/>
              <a:gd name="connsiteY0" fmla="*/ 0 h 4949837"/>
              <a:gd name="connsiteX1" fmla="*/ 3196124 w 3196124"/>
              <a:gd name="connsiteY1" fmla="*/ 495434 h 4949837"/>
              <a:gd name="connsiteX2" fmla="*/ 2411228 w 3196124"/>
              <a:gd name="connsiteY2" fmla="*/ 4949837 h 4949837"/>
              <a:gd name="connsiteX3" fmla="*/ 2453788 w 3196124"/>
              <a:gd name="connsiteY3" fmla="*/ 4944912 h 4949837"/>
              <a:gd name="connsiteX4" fmla="*/ 0 w 3196124"/>
              <a:gd name="connsiteY4" fmla="*/ 0 h 4949837"/>
              <a:gd name="connsiteX0" fmla="*/ 0 w 2556957"/>
              <a:gd name="connsiteY0" fmla="*/ 0 h 4949837"/>
              <a:gd name="connsiteX1" fmla="*/ 2556957 w 2556957"/>
              <a:gd name="connsiteY1" fmla="*/ 445491 h 4949837"/>
              <a:gd name="connsiteX2" fmla="*/ 2411228 w 2556957"/>
              <a:gd name="connsiteY2" fmla="*/ 4949837 h 4949837"/>
              <a:gd name="connsiteX3" fmla="*/ 2453788 w 2556957"/>
              <a:gd name="connsiteY3" fmla="*/ 4944912 h 4949837"/>
              <a:gd name="connsiteX4" fmla="*/ 0 w 2556957"/>
              <a:gd name="connsiteY4" fmla="*/ 0 h 4949837"/>
              <a:gd name="connsiteX0" fmla="*/ 0 w 3079177"/>
              <a:gd name="connsiteY0" fmla="*/ 0 h 4949837"/>
              <a:gd name="connsiteX1" fmla="*/ 3079177 w 3079177"/>
              <a:gd name="connsiteY1" fmla="*/ 452872 h 4949837"/>
              <a:gd name="connsiteX2" fmla="*/ 2411228 w 3079177"/>
              <a:gd name="connsiteY2" fmla="*/ 4949837 h 4949837"/>
              <a:gd name="connsiteX3" fmla="*/ 2453788 w 3079177"/>
              <a:gd name="connsiteY3" fmla="*/ 4944912 h 4949837"/>
              <a:gd name="connsiteX4" fmla="*/ 0 w 3079177"/>
              <a:gd name="connsiteY4" fmla="*/ 0 h 4949837"/>
              <a:gd name="connsiteX0" fmla="*/ 0 w 3079177"/>
              <a:gd name="connsiteY0" fmla="*/ 0 h 4983024"/>
              <a:gd name="connsiteX1" fmla="*/ 3079177 w 3079177"/>
              <a:gd name="connsiteY1" fmla="*/ 452872 h 4983024"/>
              <a:gd name="connsiteX2" fmla="*/ 2411228 w 3079177"/>
              <a:gd name="connsiteY2" fmla="*/ 4949837 h 4983024"/>
              <a:gd name="connsiteX3" fmla="*/ 2219699 w 3079177"/>
              <a:gd name="connsiteY3" fmla="*/ 4983024 h 4983024"/>
              <a:gd name="connsiteX4" fmla="*/ 0 w 3079177"/>
              <a:gd name="connsiteY4" fmla="*/ 0 h 4983024"/>
              <a:gd name="connsiteX0" fmla="*/ 0 w 3079177"/>
              <a:gd name="connsiteY0" fmla="*/ 0 h 5425792"/>
              <a:gd name="connsiteX1" fmla="*/ 3079177 w 3079177"/>
              <a:gd name="connsiteY1" fmla="*/ 452872 h 5425792"/>
              <a:gd name="connsiteX2" fmla="*/ 2716116 w 3079177"/>
              <a:gd name="connsiteY2" fmla="*/ 5425792 h 5425792"/>
              <a:gd name="connsiteX3" fmla="*/ 2219699 w 3079177"/>
              <a:gd name="connsiteY3" fmla="*/ 4983024 h 5425792"/>
              <a:gd name="connsiteX4" fmla="*/ 0 w 3079177"/>
              <a:gd name="connsiteY4" fmla="*/ 0 h 5425792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117286"/>
              <a:gd name="connsiteY0" fmla="*/ 0 h 5042904"/>
              <a:gd name="connsiteX1" fmla="*/ 3117286 w 3117286"/>
              <a:gd name="connsiteY1" fmla="*/ 476607 h 5042904"/>
              <a:gd name="connsiteX2" fmla="*/ 2470436 w 3117286"/>
              <a:gd name="connsiteY2" fmla="*/ 5042904 h 5042904"/>
              <a:gd name="connsiteX3" fmla="*/ 2219699 w 3117286"/>
              <a:gd name="connsiteY3" fmla="*/ 4983024 h 5042904"/>
              <a:gd name="connsiteX4" fmla="*/ 0 w 3117286"/>
              <a:gd name="connsiteY4" fmla="*/ 0 h 5042904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525242 w 3170361"/>
              <a:gd name="connsiteY3" fmla="*/ 4953653 h 4963573"/>
              <a:gd name="connsiteX4" fmla="*/ 0 w 3170361"/>
              <a:gd name="connsiteY4" fmla="*/ 0 h 4963573"/>
              <a:gd name="connsiteX0" fmla="*/ 0 w 3173082"/>
              <a:gd name="connsiteY0" fmla="*/ 0 h 4963573"/>
              <a:gd name="connsiteX1" fmla="*/ 3173082 w 3173082"/>
              <a:gd name="connsiteY1" fmla="*/ 378537 h 4963573"/>
              <a:gd name="connsiteX2" fmla="*/ 2523511 w 3173082"/>
              <a:gd name="connsiteY2" fmla="*/ 4963573 h 4963573"/>
              <a:gd name="connsiteX3" fmla="*/ 2525242 w 3173082"/>
              <a:gd name="connsiteY3" fmla="*/ 4953653 h 4963573"/>
              <a:gd name="connsiteX4" fmla="*/ 0 w 3173082"/>
              <a:gd name="connsiteY4" fmla="*/ 0 h 496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3082" h="4963573">
                <a:moveTo>
                  <a:pt x="0" y="0"/>
                </a:moveTo>
                <a:lnTo>
                  <a:pt x="3173082" y="378537"/>
                </a:lnTo>
                <a:cubicBezTo>
                  <a:pt x="2987832" y="1816056"/>
                  <a:pt x="2718969" y="3527305"/>
                  <a:pt x="2523511" y="4963573"/>
                </a:cubicBezTo>
                <a:lnTo>
                  <a:pt x="2525242" y="49536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9000">
                <a:srgbClr val="0C122B"/>
              </a:gs>
              <a:gs pos="100000">
                <a:srgbClr val="DC387C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495B2FBE-DA85-5A91-A46B-089E402B4D2A}"/>
              </a:ext>
            </a:extLst>
          </p:cNvPr>
          <p:cNvSpPr/>
          <p:nvPr userDrawn="1"/>
        </p:nvSpPr>
        <p:spPr>
          <a:xfrm rot="6527892">
            <a:off x="6058682" y="577486"/>
            <a:ext cx="5588974" cy="7839322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3647790"/>
              <a:gd name="connsiteY0" fmla="*/ 1476886 h 5365635"/>
              <a:gd name="connsiteX1" fmla="*/ 3647790 w 3647790"/>
              <a:gd name="connsiteY1" fmla="*/ 5 h 5365635"/>
              <a:gd name="connsiteX2" fmla="*/ 3639163 w 3647790"/>
              <a:gd name="connsiteY2" fmla="*/ 4408103 h 5365635"/>
              <a:gd name="connsiteX3" fmla="*/ 2310695 w 3647790"/>
              <a:gd name="connsiteY3" fmla="*/ 5365635 h 5365635"/>
              <a:gd name="connsiteX4" fmla="*/ 0 w 3647790"/>
              <a:gd name="connsiteY4" fmla="*/ 1476886 h 5365635"/>
              <a:gd name="connsiteX0" fmla="*/ 0 w 3639168"/>
              <a:gd name="connsiteY0" fmla="*/ 818248 h 4706997"/>
              <a:gd name="connsiteX1" fmla="*/ 2579116 w 3639168"/>
              <a:gd name="connsiteY1" fmla="*/ 8 h 4706997"/>
              <a:gd name="connsiteX2" fmla="*/ 3639163 w 3639168"/>
              <a:gd name="connsiteY2" fmla="*/ 3749465 h 4706997"/>
              <a:gd name="connsiteX3" fmla="*/ 2310695 w 3639168"/>
              <a:gd name="connsiteY3" fmla="*/ 4706997 h 4706997"/>
              <a:gd name="connsiteX4" fmla="*/ 0 w 3639168"/>
              <a:gd name="connsiteY4" fmla="*/ 818248 h 4706997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85906 h 4674655"/>
              <a:gd name="connsiteX1" fmla="*/ 2591107 w 3639168"/>
              <a:gd name="connsiteY1" fmla="*/ 0 h 4674655"/>
              <a:gd name="connsiteX2" fmla="*/ 3639163 w 3639168"/>
              <a:gd name="connsiteY2" fmla="*/ 3717123 h 4674655"/>
              <a:gd name="connsiteX3" fmla="*/ 2310695 w 3639168"/>
              <a:gd name="connsiteY3" fmla="*/ 4674655 h 4674655"/>
              <a:gd name="connsiteX4" fmla="*/ 0 w 3639168"/>
              <a:gd name="connsiteY4" fmla="*/ 785906 h 4674655"/>
              <a:gd name="connsiteX0" fmla="*/ 0 w 3639171"/>
              <a:gd name="connsiteY0" fmla="*/ 785906 h 4674655"/>
              <a:gd name="connsiteX1" fmla="*/ 2591107 w 3639171"/>
              <a:gd name="connsiteY1" fmla="*/ 0 h 4674655"/>
              <a:gd name="connsiteX2" fmla="*/ 3639163 w 3639171"/>
              <a:gd name="connsiteY2" fmla="*/ 3717123 h 4674655"/>
              <a:gd name="connsiteX3" fmla="*/ 2310695 w 3639171"/>
              <a:gd name="connsiteY3" fmla="*/ 4674655 h 4674655"/>
              <a:gd name="connsiteX4" fmla="*/ 0 w 3639171"/>
              <a:gd name="connsiteY4" fmla="*/ 785906 h 4674655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1"/>
              <a:gd name="connsiteY0" fmla="*/ 783704 h 4672453"/>
              <a:gd name="connsiteX1" fmla="*/ 2584062 w 3639171"/>
              <a:gd name="connsiteY1" fmla="*/ 0 h 4672453"/>
              <a:gd name="connsiteX2" fmla="*/ 3639163 w 3639171"/>
              <a:gd name="connsiteY2" fmla="*/ 3714921 h 4672453"/>
              <a:gd name="connsiteX3" fmla="*/ 2310695 w 3639171"/>
              <a:gd name="connsiteY3" fmla="*/ 4672453 h 4672453"/>
              <a:gd name="connsiteX4" fmla="*/ 0 w 3639171"/>
              <a:gd name="connsiteY4" fmla="*/ 783704 h 4672453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171" h="4685387">
                <a:moveTo>
                  <a:pt x="0" y="796638"/>
                </a:moveTo>
                <a:cubicBezTo>
                  <a:pt x="1668536" y="295230"/>
                  <a:pt x="1265254" y="376208"/>
                  <a:pt x="2579266" y="0"/>
                </a:cubicBezTo>
                <a:cubicBezTo>
                  <a:pt x="2879644" y="1417913"/>
                  <a:pt x="3642039" y="2258489"/>
                  <a:pt x="3639163" y="3727855"/>
                </a:cubicBezTo>
                <a:lnTo>
                  <a:pt x="2310695" y="4685387"/>
                </a:lnTo>
                <a:lnTo>
                  <a:pt x="0" y="796638"/>
                </a:lnTo>
                <a:close/>
              </a:path>
            </a:pathLst>
          </a:custGeom>
          <a:gradFill>
            <a:gsLst>
              <a:gs pos="39000">
                <a:srgbClr val="0C122B">
                  <a:lumMod val="100000"/>
                  <a:alpha val="70368"/>
                </a:srgbClr>
              </a:gs>
              <a:gs pos="100000">
                <a:srgbClr val="58AED5"/>
              </a:gs>
            </a:gsLst>
            <a:lin ang="13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Grafik 22">
            <a:extLst>
              <a:ext uri="{FF2B5EF4-FFF2-40B4-BE49-F238E27FC236}">
                <a16:creationId xmlns:a16="http://schemas.microsoft.com/office/drawing/2014/main" id="{145242E5-EC76-736A-7520-0D9BAF2730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155" t="16497" r="15034" b="16800"/>
          <a:stretch/>
        </p:blipFill>
        <p:spPr>
          <a:xfrm>
            <a:off x="8478607" y="409863"/>
            <a:ext cx="3037175" cy="1427242"/>
          </a:xfrm>
          <a:prstGeom prst="rect">
            <a:avLst/>
          </a:prstGeom>
        </p:spPr>
      </p:pic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DD786D1-EA8F-18AF-C947-058C32712C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3570308"/>
            <a:ext cx="9360000" cy="1104470"/>
          </a:xfrm>
          <a:noFill/>
        </p:spPr>
        <p:txBody>
          <a:bodyPr wrap="square" lIns="0" tIns="0" rIns="0" bIns="0" anchor="b" anchorCtr="0">
            <a:spAutoFit/>
          </a:bodyPr>
          <a:lstStyle>
            <a:lvl1pPr>
              <a:lnSpc>
                <a:spcPct val="100000"/>
              </a:lnSpc>
              <a:spcAft>
                <a:spcPts val="1800"/>
              </a:spcAft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>
              <a:spcBef>
                <a:spcPts val="0"/>
              </a:spcBef>
              <a:buNone/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spcBef>
                <a:spcPts val="0"/>
              </a:spcBef>
              <a:spcAft>
                <a:spcPts val="0"/>
              </a:spcAft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spcBef>
                <a:spcPts val="0"/>
              </a:spcBef>
              <a:spcAft>
                <a:spcPts val="0"/>
              </a:spcAft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spcBef>
                <a:spcPts val="0"/>
              </a:spcBef>
              <a:spcAft>
                <a:spcPts val="0"/>
              </a:spcAft>
              <a:defRPr lang="en-US" sz="2400" b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dirty="0"/>
              <a:t>Headline</a:t>
            </a:r>
          </a:p>
          <a:p>
            <a:pPr lvl="1"/>
            <a:r>
              <a:rPr lang="en-US" noProof="0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669641286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pos="438" userDrawn="1">
          <p15:clr>
            <a:srgbClr val="FBAE40"/>
          </p15:clr>
        </p15:guide>
        <p15:guide id="2" pos="724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 20">
            <a:extLst>
              <a:ext uri="{FF2B5EF4-FFF2-40B4-BE49-F238E27FC236}">
                <a16:creationId xmlns:a16="http://schemas.microsoft.com/office/drawing/2014/main" id="{3BFF459D-6264-F368-76F6-384368768B3E}"/>
              </a:ext>
            </a:extLst>
          </p:cNvPr>
          <p:cNvSpPr/>
          <p:nvPr userDrawn="1"/>
        </p:nvSpPr>
        <p:spPr>
          <a:xfrm rot="15744484">
            <a:off x="992685" y="-1588652"/>
            <a:ext cx="3521947" cy="6002043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4528868"/>
              <a:gd name="connsiteY0" fmla="*/ 0 h 4944912"/>
              <a:gd name="connsiteX1" fmla="*/ 4528868 w 4528868"/>
              <a:gd name="connsiteY1" fmla="*/ 8626 h 4944912"/>
              <a:gd name="connsiteX2" fmla="*/ 4520241 w 4528868"/>
              <a:gd name="connsiteY2" fmla="*/ 4416724 h 4944912"/>
              <a:gd name="connsiteX3" fmla="*/ 2453788 w 4528868"/>
              <a:gd name="connsiteY3" fmla="*/ 4944912 h 4944912"/>
              <a:gd name="connsiteX4" fmla="*/ 0 w 4528868"/>
              <a:gd name="connsiteY4" fmla="*/ 0 h 4944912"/>
              <a:gd name="connsiteX0" fmla="*/ 0 w 4528868"/>
              <a:gd name="connsiteY0" fmla="*/ 0 h 4949837"/>
              <a:gd name="connsiteX1" fmla="*/ 4528868 w 4528868"/>
              <a:gd name="connsiteY1" fmla="*/ 8626 h 4949837"/>
              <a:gd name="connsiteX2" fmla="*/ 2411228 w 4528868"/>
              <a:gd name="connsiteY2" fmla="*/ 4949837 h 4949837"/>
              <a:gd name="connsiteX3" fmla="*/ 2453788 w 4528868"/>
              <a:gd name="connsiteY3" fmla="*/ 4944912 h 4949837"/>
              <a:gd name="connsiteX4" fmla="*/ 0 w 4528868"/>
              <a:gd name="connsiteY4" fmla="*/ 0 h 4949837"/>
              <a:gd name="connsiteX0" fmla="*/ 0 w 3196124"/>
              <a:gd name="connsiteY0" fmla="*/ 0 h 4949837"/>
              <a:gd name="connsiteX1" fmla="*/ 3196124 w 3196124"/>
              <a:gd name="connsiteY1" fmla="*/ 495434 h 4949837"/>
              <a:gd name="connsiteX2" fmla="*/ 2411228 w 3196124"/>
              <a:gd name="connsiteY2" fmla="*/ 4949837 h 4949837"/>
              <a:gd name="connsiteX3" fmla="*/ 2453788 w 3196124"/>
              <a:gd name="connsiteY3" fmla="*/ 4944912 h 4949837"/>
              <a:gd name="connsiteX4" fmla="*/ 0 w 3196124"/>
              <a:gd name="connsiteY4" fmla="*/ 0 h 4949837"/>
              <a:gd name="connsiteX0" fmla="*/ 0 w 2556957"/>
              <a:gd name="connsiteY0" fmla="*/ 0 h 4949837"/>
              <a:gd name="connsiteX1" fmla="*/ 2556957 w 2556957"/>
              <a:gd name="connsiteY1" fmla="*/ 445491 h 4949837"/>
              <a:gd name="connsiteX2" fmla="*/ 2411228 w 2556957"/>
              <a:gd name="connsiteY2" fmla="*/ 4949837 h 4949837"/>
              <a:gd name="connsiteX3" fmla="*/ 2453788 w 2556957"/>
              <a:gd name="connsiteY3" fmla="*/ 4944912 h 4949837"/>
              <a:gd name="connsiteX4" fmla="*/ 0 w 2556957"/>
              <a:gd name="connsiteY4" fmla="*/ 0 h 4949837"/>
              <a:gd name="connsiteX0" fmla="*/ 0 w 3079177"/>
              <a:gd name="connsiteY0" fmla="*/ 0 h 4949837"/>
              <a:gd name="connsiteX1" fmla="*/ 3079177 w 3079177"/>
              <a:gd name="connsiteY1" fmla="*/ 452872 h 4949837"/>
              <a:gd name="connsiteX2" fmla="*/ 2411228 w 3079177"/>
              <a:gd name="connsiteY2" fmla="*/ 4949837 h 4949837"/>
              <a:gd name="connsiteX3" fmla="*/ 2453788 w 3079177"/>
              <a:gd name="connsiteY3" fmla="*/ 4944912 h 4949837"/>
              <a:gd name="connsiteX4" fmla="*/ 0 w 3079177"/>
              <a:gd name="connsiteY4" fmla="*/ 0 h 4949837"/>
              <a:gd name="connsiteX0" fmla="*/ 0 w 3079177"/>
              <a:gd name="connsiteY0" fmla="*/ 0 h 4983024"/>
              <a:gd name="connsiteX1" fmla="*/ 3079177 w 3079177"/>
              <a:gd name="connsiteY1" fmla="*/ 452872 h 4983024"/>
              <a:gd name="connsiteX2" fmla="*/ 2411228 w 3079177"/>
              <a:gd name="connsiteY2" fmla="*/ 4949837 h 4983024"/>
              <a:gd name="connsiteX3" fmla="*/ 2219699 w 3079177"/>
              <a:gd name="connsiteY3" fmla="*/ 4983024 h 4983024"/>
              <a:gd name="connsiteX4" fmla="*/ 0 w 3079177"/>
              <a:gd name="connsiteY4" fmla="*/ 0 h 4983024"/>
              <a:gd name="connsiteX0" fmla="*/ 0 w 3079177"/>
              <a:gd name="connsiteY0" fmla="*/ 0 h 5425792"/>
              <a:gd name="connsiteX1" fmla="*/ 3079177 w 3079177"/>
              <a:gd name="connsiteY1" fmla="*/ 452872 h 5425792"/>
              <a:gd name="connsiteX2" fmla="*/ 2716116 w 3079177"/>
              <a:gd name="connsiteY2" fmla="*/ 5425792 h 5425792"/>
              <a:gd name="connsiteX3" fmla="*/ 2219699 w 3079177"/>
              <a:gd name="connsiteY3" fmla="*/ 4983024 h 5425792"/>
              <a:gd name="connsiteX4" fmla="*/ 0 w 3079177"/>
              <a:gd name="connsiteY4" fmla="*/ 0 h 5425792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117286"/>
              <a:gd name="connsiteY0" fmla="*/ 0 h 5042904"/>
              <a:gd name="connsiteX1" fmla="*/ 3117286 w 3117286"/>
              <a:gd name="connsiteY1" fmla="*/ 476607 h 5042904"/>
              <a:gd name="connsiteX2" fmla="*/ 2470436 w 3117286"/>
              <a:gd name="connsiteY2" fmla="*/ 5042904 h 5042904"/>
              <a:gd name="connsiteX3" fmla="*/ 2219699 w 3117286"/>
              <a:gd name="connsiteY3" fmla="*/ 4983024 h 5042904"/>
              <a:gd name="connsiteX4" fmla="*/ 0 w 3117286"/>
              <a:gd name="connsiteY4" fmla="*/ 0 h 5042904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525242 w 3170361"/>
              <a:gd name="connsiteY3" fmla="*/ 4953653 h 4963573"/>
              <a:gd name="connsiteX4" fmla="*/ 0 w 3170361"/>
              <a:gd name="connsiteY4" fmla="*/ 0 h 4963573"/>
              <a:gd name="connsiteX0" fmla="*/ 0 w 3173082"/>
              <a:gd name="connsiteY0" fmla="*/ 0 h 4963573"/>
              <a:gd name="connsiteX1" fmla="*/ 3173082 w 3173082"/>
              <a:gd name="connsiteY1" fmla="*/ 378537 h 4963573"/>
              <a:gd name="connsiteX2" fmla="*/ 2523511 w 3173082"/>
              <a:gd name="connsiteY2" fmla="*/ 4963573 h 4963573"/>
              <a:gd name="connsiteX3" fmla="*/ 2525242 w 3173082"/>
              <a:gd name="connsiteY3" fmla="*/ 4953653 h 4963573"/>
              <a:gd name="connsiteX4" fmla="*/ 0 w 3173082"/>
              <a:gd name="connsiteY4" fmla="*/ 0 h 496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3082" h="4963573">
                <a:moveTo>
                  <a:pt x="0" y="0"/>
                </a:moveTo>
                <a:lnTo>
                  <a:pt x="3173082" y="378537"/>
                </a:lnTo>
                <a:cubicBezTo>
                  <a:pt x="2987832" y="1816056"/>
                  <a:pt x="2718969" y="3527305"/>
                  <a:pt x="2523511" y="4963573"/>
                </a:cubicBezTo>
                <a:lnTo>
                  <a:pt x="2525242" y="49536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9000">
                <a:srgbClr val="0C122B"/>
              </a:gs>
              <a:gs pos="100000">
                <a:srgbClr val="DC387C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495B2FBE-DA85-5A91-A46B-089E402B4D2A}"/>
              </a:ext>
            </a:extLst>
          </p:cNvPr>
          <p:cNvSpPr/>
          <p:nvPr userDrawn="1"/>
        </p:nvSpPr>
        <p:spPr>
          <a:xfrm rot="6527892">
            <a:off x="6058682" y="577486"/>
            <a:ext cx="5588974" cy="7839322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3647790"/>
              <a:gd name="connsiteY0" fmla="*/ 1476886 h 5365635"/>
              <a:gd name="connsiteX1" fmla="*/ 3647790 w 3647790"/>
              <a:gd name="connsiteY1" fmla="*/ 5 h 5365635"/>
              <a:gd name="connsiteX2" fmla="*/ 3639163 w 3647790"/>
              <a:gd name="connsiteY2" fmla="*/ 4408103 h 5365635"/>
              <a:gd name="connsiteX3" fmla="*/ 2310695 w 3647790"/>
              <a:gd name="connsiteY3" fmla="*/ 5365635 h 5365635"/>
              <a:gd name="connsiteX4" fmla="*/ 0 w 3647790"/>
              <a:gd name="connsiteY4" fmla="*/ 1476886 h 5365635"/>
              <a:gd name="connsiteX0" fmla="*/ 0 w 3639168"/>
              <a:gd name="connsiteY0" fmla="*/ 818248 h 4706997"/>
              <a:gd name="connsiteX1" fmla="*/ 2579116 w 3639168"/>
              <a:gd name="connsiteY1" fmla="*/ 8 h 4706997"/>
              <a:gd name="connsiteX2" fmla="*/ 3639163 w 3639168"/>
              <a:gd name="connsiteY2" fmla="*/ 3749465 h 4706997"/>
              <a:gd name="connsiteX3" fmla="*/ 2310695 w 3639168"/>
              <a:gd name="connsiteY3" fmla="*/ 4706997 h 4706997"/>
              <a:gd name="connsiteX4" fmla="*/ 0 w 3639168"/>
              <a:gd name="connsiteY4" fmla="*/ 818248 h 4706997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85906 h 4674655"/>
              <a:gd name="connsiteX1" fmla="*/ 2591107 w 3639168"/>
              <a:gd name="connsiteY1" fmla="*/ 0 h 4674655"/>
              <a:gd name="connsiteX2" fmla="*/ 3639163 w 3639168"/>
              <a:gd name="connsiteY2" fmla="*/ 3717123 h 4674655"/>
              <a:gd name="connsiteX3" fmla="*/ 2310695 w 3639168"/>
              <a:gd name="connsiteY3" fmla="*/ 4674655 h 4674655"/>
              <a:gd name="connsiteX4" fmla="*/ 0 w 3639168"/>
              <a:gd name="connsiteY4" fmla="*/ 785906 h 4674655"/>
              <a:gd name="connsiteX0" fmla="*/ 0 w 3639171"/>
              <a:gd name="connsiteY0" fmla="*/ 785906 h 4674655"/>
              <a:gd name="connsiteX1" fmla="*/ 2591107 w 3639171"/>
              <a:gd name="connsiteY1" fmla="*/ 0 h 4674655"/>
              <a:gd name="connsiteX2" fmla="*/ 3639163 w 3639171"/>
              <a:gd name="connsiteY2" fmla="*/ 3717123 h 4674655"/>
              <a:gd name="connsiteX3" fmla="*/ 2310695 w 3639171"/>
              <a:gd name="connsiteY3" fmla="*/ 4674655 h 4674655"/>
              <a:gd name="connsiteX4" fmla="*/ 0 w 3639171"/>
              <a:gd name="connsiteY4" fmla="*/ 785906 h 4674655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1"/>
              <a:gd name="connsiteY0" fmla="*/ 783704 h 4672453"/>
              <a:gd name="connsiteX1" fmla="*/ 2584062 w 3639171"/>
              <a:gd name="connsiteY1" fmla="*/ 0 h 4672453"/>
              <a:gd name="connsiteX2" fmla="*/ 3639163 w 3639171"/>
              <a:gd name="connsiteY2" fmla="*/ 3714921 h 4672453"/>
              <a:gd name="connsiteX3" fmla="*/ 2310695 w 3639171"/>
              <a:gd name="connsiteY3" fmla="*/ 4672453 h 4672453"/>
              <a:gd name="connsiteX4" fmla="*/ 0 w 3639171"/>
              <a:gd name="connsiteY4" fmla="*/ 783704 h 4672453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171" h="4685387">
                <a:moveTo>
                  <a:pt x="0" y="796638"/>
                </a:moveTo>
                <a:cubicBezTo>
                  <a:pt x="1668536" y="295230"/>
                  <a:pt x="1265254" y="376208"/>
                  <a:pt x="2579266" y="0"/>
                </a:cubicBezTo>
                <a:cubicBezTo>
                  <a:pt x="2879644" y="1417913"/>
                  <a:pt x="3642039" y="2258489"/>
                  <a:pt x="3639163" y="3727855"/>
                </a:cubicBezTo>
                <a:lnTo>
                  <a:pt x="2310695" y="4685387"/>
                </a:lnTo>
                <a:lnTo>
                  <a:pt x="0" y="796638"/>
                </a:lnTo>
                <a:close/>
              </a:path>
            </a:pathLst>
          </a:custGeom>
          <a:gradFill>
            <a:gsLst>
              <a:gs pos="39000">
                <a:srgbClr val="0C122B">
                  <a:lumMod val="100000"/>
                  <a:alpha val="70368"/>
                </a:srgbClr>
              </a:gs>
              <a:gs pos="100000">
                <a:srgbClr val="58AED5"/>
              </a:gs>
            </a:gsLst>
            <a:lin ang="13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>
            <a:extLst>
              <a:ext uri="{FF2B5EF4-FFF2-40B4-BE49-F238E27FC236}">
                <a16:creationId xmlns:a16="http://schemas.microsoft.com/office/drawing/2014/main" id="{5F9BC208-4EF3-3EE4-E3F7-6202718C95D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59385" y="486410"/>
            <a:ext cx="663350" cy="957047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DAB08381-F591-F9A4-6A59-3E73A49ABC1F}"/>
              </a:ext>
            </a:extLst>
          </p:cNvPr>
          <p:cNvSpPr txBox="1"/>
          <p:nvPr userDrawn="1"/>
        </p:nvSpPr>
        <p:spPr>
          <a:xfrm>
            <a:off x="694481" y="671332"/>
            <a:ext cx="879676" cy="25557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2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15000" dirty="0">
                <a:solidFill>
                  <a:schemeClr val="bg1"/>
                </a:solidFill>
              </a:rPr>
              <a:t>“</a:t>
            </a:r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82F8C472-E83F-298A-AFA2-ED91C2FC1B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01801" y="1949450"/>
            <a:ext cx="8374600" cy="3683868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2pPr>
            <a:lvl3pPr marL="266700" indent="0" algn="r">
              <a:buNone/>
              <a:defRPr>
                <a:solidFill>
                  <a:schemeClr val="bg1"/>
                </a:solidFill>
              </a:defRPr>
            </a:lvl3pPr>
            <a:lvl4pPr marL="446088" indent="0">
              <a:buNone/>
              <a:defRPr>
                <a:solidFill>
                  <a:schemeClr val="bg1"/>
                </a:solidFill>
              </a:defRPr>
            </a:lvl4pPr>
            <a:lvl5pPr marL="62706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 noProof="0" dirty="0"/>
              <a:t>Quote, Work Sans </a:t>
            </a:r>
            <a:r>
              <a:rPr lang="en-US" noProof="0" dirty="0" err="1"/>
              <a:t>Semibold</a:t>
            </a:r>
            <a:r>
              <a:rPr lang="en-US" noProof="0" dirty="0"/>
              <a:t> 32pt or 24pt</a:t>
            </a:r>
          </a:p>
          <a:p>
            <a:pPr lvl="2"/>
            <a:r>
              <a:rPr lang="en-US" noProof="0" dirty="0"/>
              <a:t>Title Name Surname </a:t>
            </a:r>
            <a:br>
              <a:rPr lang="en-US" noProof="0" dirty="0"/>
            </a:br>
            <a:r>
              <a:rPr lang="en-US" noProof="0" dirty="0"/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2919221877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ground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b="0" i="0">
                <a:solidFill>
                  <a:schemeClr val="bg1"/>
                </a:solidFill>
                <a:latin typeface="Work Sans" pitchFamily="2" charset="77"/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2" name="Textplatzhalter 14">
            <a:extLst>
              <a:ext uri="{FF2B5EF4-FFF2-40B4-BE49-F238E27FC236}">
                <a16:creationId xmlns:a16="http://schemas.microsoft.com/office/drawing/2014/main" id="{B87D6786-6699-8DB9-2901-ECEB3ECC89D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731016"/>
            <a:ext cx="5916612" cy="2253859"/>
          </a:xfrm>
          <a:solidFill>
            <a:schemeClr val="tx1"/>
          </a:solidFill>
        </p:spPr>
        <p:txBody>
          <a:bodyPr lIns="486000" tIns="360000" rIns="360000" bIns="360000" anchor="b" anchorCtr="0">
            <a:sp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Font typeface="Arial" panose="020B0604020202020204" pitchFamily="34" charset="0"/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None/>
              <a:defRPr lang="de-DE" sz="1600" b="0" i="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50000"/>
              </a:lnSpc>
              <a:spcAft>
                <a:spcPts val="0"/>
              </a:spcAft>
              <a:buNone/>
              <a:defRPr sz="1600" b="0" i="0">
                <a:solidFill>
                  <a:schemeClr val="bg1"/>
                </a:solidFill>
                <a:latin typeface="Work Sans" pitchFamily="2" charset="77"/>
              </a:defRPr>
            </a:lvl3pPr>
            <a:lvl4pPr marL="0" indent="0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600" b="0" i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50000"/>
              </a:lnSpc>
              <a:spcBef>
                <a:spcPts val="300"/>
              </a:spcBef>
              <a:spcAft>
                <a:spcPts val="0"/>
              </a:spcAft>
              <a:buNone/>
              <a:defRPr lang="de-DE" sz="1600" b="0" i="0" kern="1200" noProof="0" dirty="0" err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>
              <a:lnSpc>
                <a:spcPct val="150000"/>
              </a:lnSpc>
              <a:buNone/>
              <a:defRPr lang="de-DE" sz="1600" b="0" i="0" kern="1200" noProof="0" dirty="0" err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>
              <a:lnSpc>
                <a:spcPct val="150000"/>
              </a:lnSpc>
              <a:defRPr lang="de-DE" sz="1600" b="0" i="0" kern="1200" noProof="0" dirty="0" err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>
              <a:lnSpc>
                <a:spcPct val="150000"/>
              </a:lnSpc>
              <a:spcAft>
                <a:spcPts val="0"/>
              </a:spcAft>
              <a:defRPr lang="de-DE" sz="1600" b="0" i="0" kern="1200" noProof="0" dirty="0" err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>
              <a:lnSpc>
                <a:spcPct val="150000"/>
              </a:lnSpc>
              <a:spcAft>
                <a:spcPts val="0"/>
              </a:spcAft>
              <a:defRPr lang="de-DE" sz="1600" b="0" i="0" kern="120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32 pt</a:t>
            </a:r>
          </a:p>
          <a:p>
            <a:pPr lvl="1"/>
            <a:r>
              <a:rPr lang="en-US" noProof="0" dirty="0"/>
              <a:t>Subheading Work sans, 16pt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B78DD6C-46BD-EF9F-489B-CBFA6D984C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9643547" y="4309549"/>
            <a:ext cx="4824412" cy="272492"/>
          </a:xfrm>
        </p:spPr>
        <p:txBody>
          <a:bodyPr lIns="72000" tIns="72000" rIns="72000" bIns="72000">
            <a:spAutoFit/>
          </a:bodyPr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© Image source</a:t>
            </a:r>
          </a:p>
        </p:txBody>
      </p:sp>
    </p:spTree>
    <p:extLst>
      <p:ext uri="{BB962C8B-B14F-4D97-AF65-F5344CB8AC3E}">
        <p14:creationId xmlns:p14="http://schemas.microsoft.com/office/powerpoint/2010/main" val="38248148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F707338A-2D40-6171-3DA7-35EC26F39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0"/>
            <a:ext cx="8174718" cy="38119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24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49F8D04-7881-5752-5D06-F73C704C2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7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5FE082-5449-7D63-4076-EF818E159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284925-861E-200E-E06E-D83E6447C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8" name="Text01">
            <a:extLst>
              <a:ext uri="{FF2B5EF4-FFF2-40B4-BE49-F238E27FC236}">
                <a16:creationId xmlns:a16="http://schemas.microsoft.com/office/drawing/2014/main" id="{F67E47C1-F74D-3528-5D7F-2E33FF5D723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060575"/>
            <a:ext cx="11235600" cy="3924300"/>
          </a:xfrm>
        </p:spPr>
        <p:txBody>
          <a:bodyPr/>
          <a:lstStyle>
            <a:lvl1pPr>
              <a:defRPr/>
            </a:lvl1pPr>
            <a:lvl6pPr>
              <a:spcAft>
                <a:spcPts val="600"/>
              </a:spcAft>
              <a:defRPr/>
            </a:lvl6pPr>
            <a:lvl7pPr>
              <a:spcAft>
                <a:spcPts val="600"/>
              </a:spcAft>
              <a:defRPr/>
            </a:lvl7pPr>
            <a:lvl8pPr>
              <a:spcAft>
                <a:spcPts val="600"/>
              </a:spcAft>
              <a:defRPr/>
            </a:lvl8pPr>
            <a:lvl9pPr>
              <a:spcAft>
                <a:spcPts val="600"/>
              </a:spcAft>
              <a:defRPr/>
            </a:lvl9pPr>
          </a:lstStyle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9" name="Subheadline">
            <a:extLst>
              <a:ext uri="{FF2B5EF4-FFF2-40B4-BE49-F238E27FC236}">
                <a16:creationId xmlns:a16="http://schemas.microsoft.com/office/drawing/2014/main" id="{905C3019-F97F-5CDC-B7E9-2AE69F464B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463173"/>
            <a:ext cx="8174718" cy="317651"/>
          </a:xfrm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de-DE" sz="2000" i="0" smtClean="0">
                <a:latin typeface="+mn-lt"/>
              </a:defRPr>
            </a:lvl1pPr>
            <a:lvl2pPr>
              <a:defRPr lang="de-DE" sz="1600" smtClean="0">
                <a:latin typeface="+mn-lt"/>
              </a:defRPr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r>
              <a:rPr lang="en-US" dirty="0"/>
              <a:t>Subheading Work sans, 20pt, one or two lines. If the main</a:t>
            </a:r>
          </a:p>
        </p:txBody>
      </p:sp>
    </p:spTree>
    <p:extLst>
      <p:ext uri="{BB962C8B-B14F-4D97-AF65-F5344CB8AC3E}">
        <p14:creationId xmlns:p14="http://schemas.microsoft.com/office/powerpoint/2010/main" val="18211443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F707338A-2D40-6171-3DA7-35EC26F39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0"/>
            <a:ext cx="8218261" cy="381195"/>
          </a:xfrm>
        </p:spPr>
        <p:txBody>
          <a:bodyPr/>
          <a:lstStyle/>
          <a:p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24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49F8D04-7881-5752-5D06-F73C704C2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7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5FE082-5449-7D63-4076-EF818E159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284925-861E-200E-E06E-D83E6447C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3" name="Text01">
            <a:extLst>
              <a:ext uri="{FF2B5EF4-FFF2-40B4-BE49-F238E27FC236}">
                <a16:creationId xmlns:a16="http://schemas.microsoft.com/office/drawing/2014/main" id="{63EC7C52-D495-0D20-1165-EB05CD9F8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060575"/>
            <a:ext cx="5437188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4" name="Text02">
            <a:extLst>
              <a:ext uri="{FF2B5EF4-FFF2-40B4-BE49-F238E27FC236}">
                <a16:creationId xmlns:a16="http://schemas.microsoft.com/office/drawing/2014/main" id="{3E2EEF9F-214D-B27B-2324-A996813C5C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7836" y="2060575"/>
            <a:ext cx="5437188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6" name="Subheadline">
            <a:extLst>
              <a:ext uri="{FF2B5EF4-FFF2-40B4-BE49-F238E27FC236}">
                <a16:creationId xmlns:a16="http://schemas.microsoft.com/office/drawing/2014/main" id="{CB34027F-F4FA-A745-2583-B7969017F9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463173"/>
            <a:ext cx="8218261" cy="317651"/>
          </a:xfrm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de-DE" sz="2000" i="0" smtClean="0">
                <a:latin typeface="+mn-lt"/>
              </a:defRPr>
            </a:lvl1pPr>
            <a:lvl2pPr>
              <a:defRPr lang="de-DE" sz="1600" smtClean="0">
                <a:latin typeface="+mn-lt"/>
              </a:defRPr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r>
              <a:rPr lang="en-US" dirty="0"/>
              <a:t>Subheading Work sans, 20pt, one or two lines. If the main</a:t>
            </a:r>
          </a:p>
        </p:txBody>
      </p:sp>
    </p:spTree>
    <p:extLst>
      <p:ext uri="{BB962C8B-B14F-4D97-AF65-F5344CB8AC3E}">
        <p14:creationId xmlns:p14="http://schemas.microsoft.com/office/powerpoint/2010/main" val="1481820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05393DDB-9067-3D28-A3F3-B1C5568854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0"/>
            <a:ext cx="8185604" cy="381195"/>
          </a:xfrm>
        </p:spPr>
        <p:txBody>
          <a:bodyPr/>
          <a:lstStyle/>
          <a:p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24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AA73205-4F30-D41A-AB54-952172D16D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7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1DF031F-73E2-6D2D-9850-9B190FAA9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7EEB4C7-9E59-8F6E-87B1-47C472C87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5" name="Subheadline">
            <a:extLst>
              <a:ext uri="{FF2B5EF4-FFF2-40B4-BE49-F238E27FC236}">
                <a16:creationId xmlns:a16="http://schemas.microsoft.com/office/drawing/2014/main" id="{AF95AB73-343B-FE28-12B2-0B6C9FC152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463173"/>
            <a:ext cx="8185604" cy="317651"/>
          </a:xfrm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de-DE" sz="2000" i="0" smtClean="0">
                <a:latin typeface="+mn-lt"/>
              </a:defRPr>
            </a:lvl1pPr>
            <a:lvl2pPr>
              <a:defRPr lang="de-DE" sz="1600" smtClean="0">
                <a:latin typeface="+mn-lt"/>
              </a:defRPr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r>
              <a:rPr lang="en-US" dirty="0"/>
              <a:t>Subheading Work sans, 20pt, one or two lines. If the main</a:t>
            </a:r>
          </a:p>
        </p:txBody>
      </p:sp>
      <p:sp>
        <p:nvSpPr>
          <p:cNvPr id="16" name="Text01">
            <a:extLst>
              <a:ext uri="{FF2B5EF4-FFF2-40B4-BE49-F238E27FC236}">
                <a16:creationId xmlns:a16="http://schemas.microsoft.com/office/drawing/2014/main" id="{B8B58184-DDA2-4347-E26D-1A8A35543C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060575"/>
            <a:ext cx="3492500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7" name="Text02">
            <a:extLst>
              <a:ext uri="{FF2B5EF4-FFF2-40B4-BE49-F238E27FC236}">
                <a16:creationId xmlns:a16="http://schemas.microsoft.com/office/drawing/2014/main" id="{DD2D307A-1F69-E1DC-C8F1-C928F66EFC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9750" y="2060575"/>
            <a:ext cx="3492500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8" name="Text03">
            <a:extLst>
              <a:ext uri="{FF2B5EF4-FFF2-40B4-BE49-F238E27FC236}">
                <a16:creationId xmlns:a16="http://schemas.microsoft.com/office/drawing/2014/main" id="{425529F8-465B-DAD6-7AB8-9AA9CE2298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22524" y="2060575"/>
            <a:ext cx="3492500" cy="3924300"/>
          </a:xfrm>
        </p:spPr>
        <p:txBody>
          <a:bodyPr/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</p:spTree>
    <p:extLst>
      <p:ext uri="{BB962C8B-B14F-4D97-AF65-F5344CB8AC3E}">
        <p14:creationId xmlns:p14="http://schemas.microsoft.com/office/powerpoint/2010/main" val="2945082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5178" userDrawn="1">
          <p15:clr>
            <a:srgbClr val="FBAE40"/>
          </p15:clr>
        </p15:guide>
        <p15:guide id="4" pos="495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headline">
            <a:extLst>
              <a:ext uri="{FF2B5EF4-FFF2-40B4-BE49-F238E27FC236}">
                <a16:creationId xmlns:a16="http://schemas.microsoft.com/office/drawing/2014/main" id="{D8079DFA-FB03-12DB-9B0E-D2F6DD32B7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1463173"/>
            <a:ext cx="8185604" cy="317651"/>
          </a:xfrm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de-DE" sz="2000" i="0" smtClean="0">
                <a:latin typeface="+mn-lt"/>
              </a:defRPr>
            </a:lvl1pPr>
            <a:lvl2pPr>
              <a:defRPr lang="de-DE" sz="1600" smtClean="0">
                <a:latin typeface="+mn-lt"/>
              </a:defRPr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r>
              <a:rPr lang="en-US" dirty="0"/>
              <a:t>Subheading Work sans, 20pt, one or two lines. If the main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07338A-2D40-6171-3DA7-35EC26F39D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6250"/>
            <a:ext cx="8185604" cy="381195"/>
          </a:xfrm>
        </p:spPr>
        <p:txBody>
          <a:bodyPr/>
          <a:lstStyle/>
          <a:p>
            <a:r>
              <a:rPr lang="en-US" noProof="0" dirty="0"/>
              <a:t>Headline Work sans </a:t>
            </a:r>
            <a:r>
              <a:rPr lang="en-US" noProof="0" dirty="0" err="1"/>
              <a:t>Semibold</a:t>
            </a:r>
            <a:r>
              <a:rPr lang="en-US" noProof="0" dirty="0"/>
              <a:t>, 24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49F8D04-7881-5752-5D06-F73C704C2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7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65FE082-5449-7D63-4076-EF818E1597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284925-861E-200E-E06E-D83E6447C5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‹Nr.›</a:t>
            </a:fld>
            <a:endParaRPr lang="en-US" noProof="0" dirty="0"/>
          </a:p>
        </p:txBody>
      </p:sp>
      <p:sp>
        <p:nvSpPr>
          <p:cNvPr id="13" name="Text01">
            <a:extLst>
              <a:ext uri="{FF2B5EF4-FFF2-40B4-BE49-F238E27FC236}">
                <a16:creationId xmlns:a16="http://schemas.microsoft.com/office/drawing/2014/main" id="{35BF3EF5-DD68-5F52-2417-34FF5533917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2060575"/>
            <a:ext cx="2538000" cy="39243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4" name="Text02">
            <a:extLst>
              <a:ext uri="{FF2B5EF4-FFF2-40B4-BE49-F238E27FC236}">
                <a16:creationId xmlns:a16="http://schemas.microsoft.com/office/drawing/2014/main" id="{62C5C028-E056-AEF1-18CE-9AC7EB5C4B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77808" y="2060575"/>
            <a:ext cx="2538000" cy="39243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6" name="Text03">
            <a:extLst>
              <a:ext uri="{FF2B5EF4-FFF2-40B4-BE49-F238E27FC236}">
                <a16:creationId xmlns:a16="http://schemas.microsoft.com/office/drawing/2014/main" id="{2B548DE3-8427-6E36-5930-8D05F7966E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6191" y="2060575"/>
            <a:ext cx="2538000" cy="39243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17" name="Text04">
            <a:extLst>
              <a:ext uri="{FF2B5EF4-FFF2-40B4-BE49-F238E27FC236}">
                <a16:creationId xmlns:a16="http://schemas.microsoft.com/office/drawing/2014/main" id="{9BE7B451-C3FA-6C43-9490-C503359B80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174575" y="2060575"/>
            <a:ext cx="2538000" cy="39243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</p:spTree>
    <p:extLst>
      <p:ext uri="{BB962C8B-B14F-4D97-AF65-F5344CB8AC3E}">
        <p14:creationId xmlns:p14="http://schemas.microsoft.com/office/powerpoint/2010/main" val="2992874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  <p15:guide id="3" pos="1900" userDrawn="1">
          <p15:clr>
            <a:srgbClr val="FBAE40"/>
          </p15:clr>
        </p15:guide>
        <p15:guide id="4" pos="2127" userDrawn="1">
          <p15:clr>
            <a:srgbClr val="FBAE40"/>
          </p15:clr>
        </p15:guide>
        <p15:guide id="5" pos="5780" userDrawn="1">
          <p15:clr>
            <a:srgbClr val="FBAE40"/>
          </p15:clr>
        </p15:guide>
        <p15:guide id="6" pos="555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ihandform 20">
            <a:extLst>
              <a:ext uri="{FF2B5EF4-FFF2-40B4-BE49-F238E27FC236}">
                <a16:creationId xmlns:a16="http://schemas.microsoft.com/office/drawing/2014/main" id="{C5FE2E1F-BA4B-910C-42AB-316297CD9C27}"/>
              </a:ext>
            </a:extLst>
          </p:cNvPr>
          <p:cNvSpPr/>
          <p:nvPr userDrawn="1"/>
        </p:nvSpPr>
        <p:spPr>
          <a:xfrm rot="15744484">
            <a:off x="992685" y="-1588652"/>
            <a:ext cx="3521947" cy="6002043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4528868"/>
              <a:gd name="connsiteY0" fmla="*/ 0 h 4944912"/>
              <a:gd name="connsiteX1" fmla="*/ 4528868 w 4528868"/>
              <a:gd name="connsiteY1" fmla="*/ 8626 h 4944912"/>
              <a:gd name="connsiteX2" fmla="*/ 4520241 w 4528868"/>
              <a:gd name="connsiteY2" fmla="*/ 4416724 h 4944912"/>
              <a:gd name="connsiteX3" fmla="*/ 2453788 w 4528868"/>
              <a:gd name="connsiteY3" fmla="*/ 4944912 h 4944912"/>
              <a:gd name="connsiteX4" fmla="*/ 0 w 4528868"/>
              <a:gd name="connsiteY4" fmla="*/ 0 h 4944912"/>
              <a:gd name="connsiteX0" fmla="*/ 0 w 4528868"/>
              <a:gd name="connsiteY0" fmla="*/ 0 h 4949837"/>
              <a:gd name="connsiteX1" fmla="*/ 4528868 w 4528868"/>
              <a:gd name="connsiteY1" fmla="*/ 8626 h 4949837"/>
              <a:gd name="connsiteX2" fmla="*/ 2411228 w 4528868"/>
              <a:gd name="connsiteY2" fmla="*/ 4949837 h 4949837"/>
              <a:gd name="connsiteX3" fmla="*/ 2453788 w 4528868"/>
              <a:gd name="connsiteY3" fmla="*/ 4944912 h 4949837"/>
              <a:gd name="connsiteX4" fmla="*/ 0 w 4528868"/>
              <a:gd name="connsiteY4" fmla="*/ 0 h 4949837"/>
              <a:gd name="connsiteX0" fmla="*/ 0 w 3196124"/>
              <a:gd name="connsiteY0" fmla="*/ 0 h 4949837"/>
              <a:gd name="connsiteX1" fmla="*/ 3196124 w 3196124"/>
              <a:gd name="connsiteY1" fmla="*/ 495434 h 4949837"/>
              <a:gd name="connsiteX2" fmla="*/ 2411228 w 3196124"/>
              <a:gd name="connsiteY2" fmla="*/ 4949837 h 4949837"/>
              <a:gd name="connsiteX3" fmla="*/ 2453788 w 3196124"/>
              <a:gd name="connsiteY3" fmla="*/ 4944912 h 4949837"/>
              <a:gd name="connsiteX4" fmla="*/ 0 w 3196124"/>
              <a:gd name="connsiteY4" fmla="*/ 0 h 4949837"/>
              <a:gd name="connsiteX0" fmla="*/ 0 w 2556957"/>
              <a:gd name="connsiteY0" fmla="*/ 0 h 4949837"/>
              <a:gd name="connsiteX1" fmla="*/ 2556957 w 2556957"/>
              <a:gd name="connsiteY1" fmla="*/ 445491 h 4949837"/>
              <a:gd name="connsiteX2" fmla="*/ 2411228 w 2556957"/>
              <a:gd name="connsiteY2" fmla="*/ 4949837 h 4949837"/>
              <a:gd name="connsiteX3" fmla="*/ 2453788 w 2556957"/>
              <a:gd name="connsiteY3" fmla="*/ 4944912 h 4949837"/>
              <a:gd name="connsiteX4" fmla="*/ 0 w 2556957"/>
              <a:gd name="connsiteY4" fmla="*/ 0 h 4949837"/>
              <a:gd name="connsiteX0" fmla="*/ 0 w 3079177"/>
              <a:gd name="connsiteY0" fmla="*/ 0 h 4949837"/>
              <a:gd name="connsiteX1" fmla="*/ 3079177 w 3079177"/>
              <a:gd name="connsiteY1" fmla="*/ 452872 h 4949837"/>
              <a:gd name="connsiteX2" fmla="*/ 2411228 w 3079177"/>
              <a:gd name="connsiteY2" fmla="*/ 4949837 h 4949837"/>
              <a:gd name="connsiteX3" fmla="*/ 2453788 w 3079177"/>
              <a:gd name="connsiteY3" fmla="*/ 4944912 h 4949837"/>
              <a:gd name="connsiteX4" fmla="*/ 0 w 3079177"/>
              <a:gd name="connsiteY4" fmla="*/ 0 h 4949837"/>
              <a:gd name="connsiteX0" fmla="*/ 0 w 3079177"/>
              <a:gd name="connsiteY0" fmla="*/ 0 h 4983024"/>
              <a:gd name="connsiteX1" fmla="*/ 3079177 w 3079177"/>
              <a:gd name="connsiteY1" fmla="*/ 452872 h 4983024"/>
              <a:gd name="connsiteX2" fmla="*/ 2411228 w 3079177"/>
              <a:gd name="connsiteY2" fmla="*/ 4949837 h 4983024"/>
              <a:gd name="connsiteX3" fmla="*/ 2219699 w 3079177"/>
              <a:gd name="connsiteY3" fmla="*/ 4983024 h 4983024"/>
              <a:gd name="connsiteX4" fmla="*/ 0 w 3079177"/>
              <a:gd name="connsiteY4" fmla="*/ 0 h 4983024"/>
              <a:gd name="connsiteX0" fmla="*/ 0 w 3079177"/>
              <a:gd name="connsiteY0" fmla="*/ 0 h 5425792"/>
              <a:gd name="connsiteX1" fmla="*/ 3079177 w 3079177"/>
              <a:gd name="connsiteY1" fmla="*/ 452872 h 5425792"/>
              <a:gd name="connsiteX2" fmla="*/ 2716116 w 3079177"/>
              <a:gd name="connsiteY2" fmla="*/ 5425792 h 5425792"/>
              <a:gd name="connsiteX3" fmla="*/ 2219699 w 3079177"/>
              <a:gd name="connsiteY3" fmla="*/ 4983024 h 5425792"/>
              <a:gd name="connsiteX4" fmla="*/ 0 w 3079177"/>
              <a:gd name="connsiteY4" fmla="*/ 0 h 5425792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079177"/>
              <a:gd name="connsiteY0" fmla="*/ 0 h 5042904"/>
              <a:gd name="connsiteX1" fmla="*/ 3079177 w 3079177"/>
              <a:gd name="connsiteY1" fmla="*/ 452872 h 5042904"/>
              <a:gd name="connsiteX2" fmla="*/ 2470436 w 3079177"/>
              <a:gd name="connsiteY2" fmla="*/ 5042904 h 5042904"/>
              <a:gd name="connsiteX3" fmla="*/ 2219699 w 3079177"/>
              <a:gd name="connsiteY3" fmla="*/ 4983024 h 5042904"/>
              <a:gd name="connsiteX4" fmla="*/ 0 w 3079177"/>
              <a:gd name="connsiteY4" fmla="*/ 0 h 5042904"/>
              <a:gd name="connsiteX0" fmla="*/ 0 w 3117286"/>
              <a:gd name="connsiteY0" fmla="*/ 0 h 5042904"/>
              <a:gd name="connsiteX1" fmla="*/ 3117286 w 3117286"/>
              <a:gd name="connsiteY1" fmla="*/ 476607 h 5042904"/>
              <a:gd name="connsiteX2" fmla="*/ 2470436 w 3117286"/>
              <a:gd name="connsiteY2" fmla="*/ 5042904 h 5042904"/>
              <a:gd name="connsiteX3" fmla="*/ 2219699 w 3117286"/>
              <a:gd name="connsiteY3" fmla="*/ 4983024 h 5042904"/>
              <a:gd name="connsiteX4" fmla="*/ 0 w 3117286"/>
              <a:gd name="connsiteY4" fmla="*/ 0 h 5042904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272774 w 3170361"/>
              <a:gd name="connsiteY3" fmla="*/ 4903693 h 4963573"/>
              <a:gd name="connsiteX4" fmla="*/ 0 w 3170361"/>
              <a:gd name="connsiteY4" fmla="*/ 0 h 4963573"/>
              <a:gd name="connsiteX0" fmla="*/ 0 w 3170361"/>
              <a:gd name="connsiteY0" fmla="*/ 0 h 4963573"/>
              <a:gd name="connsiteX1" fmla="*/ 3170361 w 3170361"/>
              <a:gd name="connsiteY1" fmla="*/ 397276 h 4963573"/>
              <a:gd name="connsiteX2" fmla="*/ 2523511 w 3170361"/>
              <a:gd name="connsiteY2" fmla="*/ 4963573 h 4963573"/>
              <a:gd name="connsiteX3" fmla="*/ 2525242 w 3170361"/>
              <a:gd name="connsiteY3" fmla="*/ 4953653 h 4963573"/>
              <a:gd name="connsiteX4" fmla="*/ 0 w 3170361"/>
              <a:gd name="connsiteY4" fmla="*/ 0 h 4963573"/>
              <a:gd name="connsiteX0" fmla="*/ 0 w 3173082"/>
              <a:gd name="connsiteY0" fmla="*/ 0 h 4963573"/>
              <a:gd name="connsiteX1" fmla="*/ 3173082 w 3173082"/>
              <a:gd name="connsiteY1" fmla="*/ 378537 h 4963573"/>
              <a:gd name="connsiteX2" fmla="*/ 2523511 w 3173082"/>
              <a:gd name="connsiteY2" fmla="*/ 4963573 h 4963573"/>
              <a:gd name="connsiteX3" fmla="*/ 2525242 w 3173082"/>
              <a:gd name="connsiteY3" fmla="*/ 4953653 h 4963573"/>
              <a:gd name="connsiteX4" fmla="*/ 0 w 3173082"/>
              <a:gd name="connsiteY4" fmla="*/ 0 h 4963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73082" h="4963573">
                <a:moveTo>
                  <a:pt x="0" y="0"/>
                </a:moveTo>
                <a:lnTo>
                  <a:pt x="3173082" y="378537"/>
                </a:lnTo>
                <a:cubicBezTo>
                  <a:pt x="2987832" y="1816056"/>
                  <a:pt x="2718969" y="3527305"/>
                  <a:pt x="2523511" y="4963573"/>
                </a:cubicBezTo>
                <a:lnTo>
                  <a:pt x="2525242" y="4953653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9000">
                <a:srgbClr val="0C122B"/>
              </a:gs>
              <a:gs pos="100000">
                <a:srgbClr val="DC387C"/>
              </a:gs>
            </a:gsLst>
            <a:lin ang="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495B2FBE-DA85-5A91-A46B-089E402B4D2A}"/>
              </a:ext>
            </a:extLst>
          </p:cNvPr>
          <p:cNvSpPr/>
          <p:nvPr userDrawn="1"/>
        </p:nvSpPr>
        <p:spPr>
          <a:xfrm rot="6527892">
            <a:off x="6058682" y="577486"/>
            <a:ext cx="5588974" cy="7839322"/>
          </a:xfrm>
          <a:custGeom>
            <a:avLst/>
            <a:gdLst>
              <a:gd name="connsiteX0" fmla="*/ 0 w 4528868"/>
              <a:gd name="connsiteY0" fmla="*/ 0 h 5374256"/>
              <a:gd name="connsiteX1" fmla="*/ 4528868 w 4528868"/>
              <a:gd name="connsiteY1" fmla="*/ 8626 h 5374256"/>
              <a:gd name="connsiteX2" fmla="*/ 4520241 w 4528868"/>
              <a:gd name="connsiteY2" fmla="*/ 4416724 h 5374256"/>
              <a:gd name="connsiteX3" fmla="*/ 3191773 w 4528868"/>
              <a:gd name="connsiteY3" fmla="*/ 5374256 h 5374256"/>
              <a:gd name="connsiteX4" fmla="*/ 0 w 4528868"/>
              <a:gd name="connsiteY4" fmla="*/ 0 h 5374256"/>
              <a:gd name="connsiteX0" fmla="*/ 0 w 3647790"/>
              <a:gd name="connsiteY0" fmla="*/ 1476886 h 5365635"/>
              <a:gd name="connsiteX1" fmla="*/ 3647790 w 3647790"/>
              <a:gd name="connsiteY1" fmla="*/ 5 h 5365635"/>
              <a:gd name="connsiteX2" fmla="*/ 3639163 w 3647790"/>
              <a:gd name="connsiteY2" fmla="*/ 4408103 h 5365635"/>
              <a:gd name="connsiteX3" fmla="*/ 2310695 w 3647790"/>
              <a:gd name="connsiteY3" fmla="*/ 5365635 h 5365635"/>
              <a:gd name="connsiteX4" fmla="*/ 0 w 3647790"/>
              <a:gd name="connsiteY4" fmla="*/ 1476886 h 5365635"/>
              <a:gd name="connsiteX0" fmla="*/ 0 w 3639168"/>
              <a:gd name="connsiteY0" fmla="*/ 818248 h 4706997"/>
              <a:gd name="connsiteX1" fmla="*/ 2579116 w 3639168"/>
              <a:gd name="connsiteY1" fmla="*/ 8 h 4706997"/>
              <a:gd name="connsiteX2" fmla="*/ 3639163 w 3639168"/>
              <a:gd name="connsiteY2" fmla="*/ 3749465 h 4706997"/>
              <a:gd name="connsiteX3" fmla="*/ 2310695 w 3639168"/>
              <a:gd name="connsiteY3" fmla="*/ 4706997 h 4706997"/>
              <a:gd name="connsiteX4" fmla="*/ 0 w 3639168"/>
              <a:gd name="connsiteY4" fmla="*/ 818248 h 4706997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818240 h 4706989"/>
              <a:gd name="connsiteX1" fmla="*/ 2579116 w 3639168"/>
              <a:gd name="connsiteY1" fmla="*/ 0 h 4706989"/>
              <a:gd name="connsiteX2" fmla="*/ 3639163 w 3639168"/>
              <a:gd name="connsiteY2" fmla="*/ 3749457 h 4706989"/>
              <a:gd name="connsiteX3" fmla="*/ 2310695 w 3639168"/>
              <a:gd name="connsiteY3" fmla="*/ 4706989 h 4706989"/>
              <a:gd name="connsiteX4" fmla="*/ 0 w 3639168"/>
              <a:gd name="connsiteY4" fmla="*/ 818240 h 4706989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90308 h 4679057"/>
              <a:gd name="connsiteX1" fmla="*/ 2605198 w 3639168"/>
              <a:gd name="connsiteY1" fmla="*/ 0 h 4679057"/>
              <a:gd name="connsiteX2" fmla="*/ 3639163 w 3639168"/>
              <a:gd name="connsiteY2" fmla="*/ 3721525 h 4679057"/>
              <a:gd name="connsiteX3" fmla="*/ 2310695 w 3639168"/>
              <a:gd name="connsiteY3" fmla="*/ 4679057 h 4679057"/>
              <a:gd name="connsiteX4" fmla="*/ 0 w 3639168"/>
              <a:gd name="connsiteY4" fmla="*/ 790308 h 4679057"/>
              <a:gd name="connsiteX0" fmla="*/ 0 w 3639168"/>
              <a:gd name="connsiteY0" fmla="*/ 785906 h 4674655"/>
              <a:gd name="connsiteX1" fmla="*/ 2591107 w 3639168"/>
              <a:gd name="connsiteY1" fmla="*/ 0 h 4674655"/>
              <a:gd name="connsiteX2" fmla="*/ 3639163 w 3639168"/>
              <a:gd name="connsiteY2" fmla="*/ 3717123 h 4674655"/>
              <a:gd name="connsiteX3" fmla="*/ 2310695 w 3639168"/>
              <a:gd name="connsiteY3" fmla="*/ 4674655 h 4674655"/>
              <a:gd name="connsiteX4" fmla="*/ 0 w 3639168"/>
              <a:gd name="connsiteY4" fmla="*/ 785906 h 4674655"/>
              <a:gd name="connsiteX0" fmla="*/ 0 w 3639171"/>
              <a:gd name="connsiteY0" fmla="*/ 785906 h 4674655"/>
              <a:gd name="connsiteX1" fmla="*/ 2591107 w 3639171"/>
              <a:gd name="connsiteY1" fmla="*/ 0 h 4674655"/>
              <a:gd name="connsiteX2" fmla="*/ 3639163 w 3639171"/>
              <a:gd name="connsiteY2" fmla="*/ 3717123 h 4674655"/>
              <a:gd name="connsiteX3" fmla="*/ 2310695 w 3639171"/>
              <a:gd name="connsiteY3" fmla="*/ 4674655 h 4674655"/>
              <a:gd name="connsiteX4" fmla="*/ 0 w 3639171"/>
              <a:gd name="connsiteY4" fmla="*/ 785906 h 4674655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0"/>
              <a:gd name="connsiteY0" fmla="*/ 787833 h 4676582"/>
              <a:gd name="connsiteX1" fmla="*/ 2551083 w 3639170"/>
              <a:gd name="connsiteY1" fmla="*/ 0 h 4676582"/>
              <a:gd name="connsiteX2" fmla="*/ 3639163 w 3639170"/>
              <a:gd name="connsiteY2" fmla="*/ 3719050 h 4676582"/>
              <a:gd name="connsiteX3" fmla="*/ 2310695 w 3639170"/>
              <a:gd name="connsiteY3" fmla="*/ 4676582 h 4676582"/>
              <a:gd name="connsiteX4" fmla="*/ 0 w 3639170"/>
              <a:gd name="connsiteY4" fmla="*/ 787833 h 4676582"/>
              <a:gd name="connsiteX0" fmla="*/ 0 w 3639171"/>
              <a:gd name="connsiteY0" fmla="*/ 783704 h 4672453"/>
              <a:gd name="connsiteX1" fmla="*/ 2584062 w 3639171"/>
              <a:gd name="connsiteY1" fmla="*/ 0 h 4672453"/>
              <a:gd name="connsiteX2" fmla="*/ 3639163 w 3639171"/>
              <a:gd name="connsiteY2" fmla="*/ 3714921 h 4672453"/>
              <a:gd name="connsiteX3" fmla="*/ 2310695 w 3639171"/>
              <a:gd name="connsiteY3" fmla="*/ 4672453 h 4672453"/>
              <a:gd name="connsiteX4" fmla="*/ 0 w 3639171"/>
              <a:gd name="connsiteY4" fmla="*/ 783704 h 4672453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  <a:gd name="connsiteX0" fmla="*/ 0 w 3639171"/>
              <a:gd name="connsiteY0" fmla="*/ 796638 h 4685387"/>
              <a:gd name="connsiteX1" fmla="*/ 2579266 w 3639171"/>
              <a:gd name="connsiteY1" fmla="*/ 0 h 4685387"/>
              <a:gd name="connsiteX2" fmla="*/ 3639163 w 3639171"/>
              <a:gd name="connsiteY2" fmla="*/ 3727855 h 4685387"/>
              <a:gd name="connsiteX3" fmla="*/ 2310695 w 3639171"/>
              <a:gd name="connsiteY3" fmla="*/ 4685387 h 4685387"/>
              <a:gd name="connsiteX4" fmla="*/ 0 w 3639171"/>
              <a:gd name="connsiteY4" fmla="*/ 796638 h 4685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39171" h="4685387">
                <a:moveTo>
                  <a:pt x="0" y="796638"/>
                </a:moveTo>
                <a:cubicBezTo>
                  <a:pt x="1668536" y="295230"/>
                  <a:pt x="1265254" y="376208"/>
                  <a:pt x="2579266" y="0"/>
                </a:cubicBezTo>
                <a:cubicBezTo>
                  <a:pt x="2879644" y="1417913"/>
                  <a:pt x="3642039" y="2258489"/>
                  <a:pt x="3639163" y="3727855"/>
                </a:cubicBezTo>
                <a:lnTo>
                  <a:pt x="2310695" y="4685387"/>
                </a:lnTo>
                <a:lnTo>
                  <a:pt x="0" y="796638"/>
                </a:lnTo>
                <a:close/>
              </a:path>
            </a:pathLst>
          </a:custGeom>
          <a:gradFill>
            <a:gsLst>
              <a:gs pos="39000">
                <a:srgbClr val="0C122B">
                  <a:lumMod val="100000"/>
                  <a:alpha val="70368"/>
                </a:srgbClr>
              </a:gs>
              <a:gs pos="100000">
                <a:srgbClr val="58AED5"/>
              </a:gs>
            </a:gsLst>
            <a:lin ang="13200000" scaled="0"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Work Sans" pitchFamily="2" charset="0"/>
              <a:ea typeface="+mn-ea"/>
              <a:cs typeface="+mn-cs"/>
            </a:endParaRPr>
          </a:p>
        </p:txBody>
      </p:sp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Grafik 22">
            <a:extLst>
              <a:ext uri="{FF2B5EF4-FFF2-40B4-BE49-F238E27FC236}">
                <a16:creationId xmlns:a16="http://schemas.microsoft.com/office/drawing/2014/main" id="{145242E5-EC76-736A-7520-0D9BAF2730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1155" t="16497" r="15034" b="16800"/>
          <a:stretch/>
        </p:blipFill>
        <p:spPr>
          <a:xfrm>
            <a:off x="8478607" y="409863"/>
            <a:ext cx="3037175" cy="1427242"/>
          </a:xfrm>
          <a:prstGeom prst="rect">
            <a:avLst/>
          </a:prstGeom>
        </p:spPr>
      </p:pic>
      <p:sp>
        <p:nvSpPr>
          <p:cNvPr id="20" name="Textplatzhalter 14">
            <a:extLst>
              <a:ext uri="{FF2B5EF4-FFF2-40B4-BE49-F238E27FC236}">
                <a16:creationId xmlns:a16="http://schemas.microsoft.com/office/drawing/2014/main" id="{FDD786D1-EA8F-18AF-C947-058C32712C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5" y="2452817"/>
            <a:ext cx="5365200" cy="2416046"/>
          </a:xfrm>
          <a:noFill/>
        </p:spPr>
        <p:txBody>
          <a:bodyPr wrap="square" lIns="0" tIns="0" rIns="0" bIns="0" anchor="b">
            <a:spAutoFit/>
          </a:bodyPr>
          <a:lstStyle>
            <a:lvl1pPr>
              <a:lnSpc>
                <a:spcPct val="100000"/>
              </a:lnSpc>
              <a:spcAft>
                <a:spcPts val="1800"/>
              </a:spcAft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Aft>
                <a:spcPts val="180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1800"/>
              </a:spcAft>
              <a:buNone/>
              <a:defRPr sz="140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300"/>
              </a:spcBef>
              <a:spcAft>
                <a:spcPts val="18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1800"/>
              </a:spcAft>
              <a:buNone/>
              <a:defRPr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1800"/>
              </a:spcAft>
              <a:buNone/>
              <a:defRPr>
                <a:solidFill>
                  <a:schemeClr val="bg1"/>
                </a:solidFill>
              </a:defRPr>
            </a:lvl6pPr>
            <a:lvl7pPr>
              <a:lnSpc>
                <a:spcPct val="100000"/>
              </a:lnSpc>
              <a:spcAft>
                <a:spcPts val="1800"/>
              </a:spcAft>
              <a:defRPr sz="1400">
                <a:solidFill>
                  <a:schemeClr val="bg1"/>
                </a:solidFill>
                <a:latin typeface="+mn-lt"/>
              </a:defRPr>
            </a:lvl7pPr>
            <a:lvl8pPr>
              <a:lnSpc>
                <a:spcPct val="100000"/>
              </a:lnSpc>
              <a:spcAft>
                <a:spcPts val="1800"/>
              </a:spcAft>
              <a:defRPr sz="1400">
                <a:solidFill>
                  <a:schemeClr val="bg1"/>
                </a:solidFill>
                <a:latin typeface="+mn-lt"/>
              </a:defRPr>
            </a:lvl8pPr>
            <a:lvl9pPr>
              <a:lnSpc>
                <a:spcPct val="100000"/>
              </a:lnSpc>
              <a:spcAft>
                <a:spcPts val="180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Contact</a:t>
            </a:r>
          </a:p>
          <a:p>
            <a:pPr lvl="1"/>
            <a:r>
              <a:rPr lang="en-US" noProof="0" dirty="0"/>
              <a:t>Title Name Surname</a:t>
            </a:r>
            <a:br>
              <a:rPr lang="en-US" noProof="0" dirty="0"/>
            </a:br>
            <a:r>
              <a:rPr lang="en-US" noProof="0" dirty="0"/>
              <a:t>Position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Email: name.surname@domain.org</a:t>
            </a:r>
          </a:p>
          <a:p>
            <a:pPr lvl="1"/>
            <a:r>
              <a:rPr lang="en-US" noProof="0" dirty="0"/>
              <a:t>www.lamarr-institute.org</a:t>
            </a: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EBA0284-5460-73BF-F456-16DB8BBCB397}"/>
              </a:ext>
            </a:extLst>
          </p:cNvPr>
          <p:cNvGrpSpPr/>
          <p:nvPr userDrawn="1"/>
        </p:nvGrpSpPr>
        <p:grpSpPr>
          <a:xfrm>
            <a:off x="0" y="5430644"/>
            <a:ext cx="12192000" cy="1427356"/>
            <a:chOff x="0" y="5430644"/>
            <a:chExt cx="12192000" cy="1427356"/>
          </a:xfrm>
        </p:grpSpPr>
        <p:grpSp>
          <p:nvGrpSpPr>
            <p:cNvPr id="5" name="Gruppieren 4">
              <a:extLst>
                <a:ext uri="{FF2B5EF4-FFF2-40B4-BE49-F238E27FC236}">
                  <a16:creationId xmlns:a16="http://schemas.microsoft.com/office/drawing/2014/main" id="{D901D969-68D4-1DAF-79E6-4E9459263DA4}"/>
                </a:ext>
              </a:extLst>
            </p:cNvPr>
            <p:cNvGrpSpPr/>
            <p:nvPr userDrawn="1"/>
          </p:nvGrpSpPr>
          <p:grpSpPr>
            <a:xfrm>
              <a:off x="0" y="5430644"/>
              <a:ext cx="12192000" cy="1427356"/>
              <a:chOff x="0" y="5430644"/>
              <a:chExt cx="12192000" cy="1427356"/>
            </a:xfrm>
          </p:grpSpPr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E42F5EFA-BE1C-FE1B-B5B6-B66135B23C4B}"/>
                  </a:ext>
                </a:extLst>
              </p:cNvPr>
              <p:cNvSpPr/>
              <p:nvPr userDrawn="1"/>
            </p:nvSpPr>
            <p:spPr>
              <a:xfrm>
                <a:off x="0" y="5430644"/>
                <a:ext cx="12192000" cy="142735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b="0" i="0" dirty="0">
                  <a:latin typeface="Work Sans" pitchFamily="2" charset="77"/>
                </a:endParaRPr>
              </a:p>
            </p:txBody>
          </p:sp>
          <p:sp>
            <p:nvSpPr>
              <p:cNvPr id="15" name="Textfeld 14">
                <a:extLst>
                  <a:ext uri="{FF2B5EF4-FFF2-40B4-BE49-F238E27FC236}">
                    <a16:creationId xmlns:a16="http://schemas.microsoft.com/office/drawing/2014/main" id="{49A4B766-DEEC-0828-703D-DB1D0B59C7BA}"/>
                  </a:ext>
                </a:extLst>
              </p:cNvPr>
              <p:cNvSpPr txBox="1"/>
              <p:nvPr userDrawn="1"/>
            </p:nvSpPr>
            <p:spPr>
              <a:xfrm>
                <a:off x="731321" y="5692126"/>
                <a:ext cx="1357103" cy="246221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algn="l" fontAlgn="base"/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Partner 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+mn-lt"/>
                  </a:rPr>
                  <a:t>institutions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:</a:t>
                </a:r>
              </a:p>
            </p:txBody>
          </p:sp>
          <p:grpSp>
            <p:nvGrpSpPr>
              <p:cNvPr id="17" name="Gruppieren 16">
                <a:extLst>
                  <a:ext uri="{FF2B5EF4-FFF2-40B4-BE49-F238E27FC236}">
                    <a16:creationId xmlns:a16="http://schemas.microsoft.com/office/drawing/2014/main" id="{3AF7516B-7CDC-E237-9C26-9DF87401DB56}"/>
                  </a:ext>
                </a:extLst>
              </p:cNvPr>
              <p:cNvGrpSpPr/>
              <p:nvPr userDrawn="1"/>
            </p:nvGrpSpPr>
            <p:grpSpPr>
              <a:xfrm>
                <a:off x="731322" y="6029988"/>
                <a:ext cx="6427081" cy="433766"/>
                <a:chOff x="731322" y="6031158"/>
                <a:chExt cx="7216569" cy="487049"/>
              </a:xfrm>
            </p:grpSpPr>
            <p:pic>
              <p:nvPicPr>
                <p:cNvPr id="26" name="Grafik 25">
                  <a:extLst>
                    <a:ext uri="{FF2B5EF4-FFF2-40B4-BE49-F238E27FC236}">
                      <a16:creationId xmlns:a16="http://schemas.microsoft.com/office/drawing/2014/main" id="{4A8C519C-12BE-63F6-69CD-E99E0E458A43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1322" y="6135085"/>
                  <a:ext cx="1423713" cy="261184"/>
                </a:xfrm>
                <a:prstGeom prst="rect">
                  <a:avLst/>
                </a:prstGeom>
              </p:spPr>
            </p:pic>
            <p:pic>
              <p:nvPicPr>
                <p:cNvPr id="27" name="Grafik 26">
                  <a:extLst>
                    <a:ext uri="{FF2B5EF4-FFF2-40B4-BE49-F238E27FC236}">
                      <a16:creationId xmlns:a16="http://schemas.microsoft.com/office/drawing/2014/main" id="{D2DC47FD-688D-A56D-B2A6-27C7EE75D32E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8">
                  <a:extLs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08503" y="6052045"/>
                  <a:ext cx="1593623" cy="466162"/>
                </a:xfrm>
                <a:prstGeom prst="rect">
                  <a:avLst/>
                </a:prstGeom>
              </p:spPr>
            </p:pic>
            <p:pic>
              <p:nvPicPr>
                <p:cNvPr id="29" name="Grafik 28">
                  <a:extLst>
                    <a:ext uri="{FF2B5EF4-FFF2-40B4-BE49-F238E27FC236}">
                      <a16:creationId xmlns:a16="http://schemas.microsoft.com/office/drawing/2014/main" id="{602F6B01-BDC7-0360-B5B1-B4C7B6C4CED5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423982" y="6047977"/>
                  <a:ext cx="1523909" cy="435402"/>
                </a:xfrm>
                <a:prstGeom prst="rect">
                  <a:avLst/>
                </a:prstGeom>
              </p:spPr>
            </p:pic>
            <p:pic>
              <p:nvPicPr>
                <p:cNvPr id="30" name="Grafik 29">
                  <a:extLst>
                    <a:ext uri="{FF2B5EF4-FFF2-40B4-BE49-F238E27FC236}">
                      <a16:creationId xmlns:a16="http://schemas.microsoft.com/office/drawing/2014/main" id="{42F11228-E2E2-128C-A40E-76201DFF4922}"/>
                    </a:ext>
                  </a:extLst>
                </p:cNvPr>
                <p:cNvPicPr>
                  <a:picLocks noChangeAspect="1"/>
                </p:cNvPicPr>
                <p:nvPr userDrawn="1"/>
              </p:nvPicPr>
              <p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37681" y="6031158"/>
                  <a:ext cx="1099348" cy="461016"/>
                </a:xfrm>
                <a:prstGeom prst="rect">
                  <a:avLst/>
                </a:prstGeom>
              </p:spPr>
            </p:pic>
          </p:grpSp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E0FE7991-22CE-A8A6-D350-21B2377ED172}"/>
                  </a:ext>
                </a:extLst>
              </p:cNvPr>
              <p:cNvSpPr txBox="1"/>
              <p:nvPr userDrawn="1"/>
            </p:nvSpPr>
            <p:spPr>
              <a:xfrm>
                <a:off x="8176924" y="5692126"/>
                <a:ext cx="1684115" cy="246221"/>
              </a:xfrm>
              <a:prstGeom prst="rect">
                <a:avLst/>
              </a:prstGeom>
              <a:noFill/>
            </p:spPr>
            <p:txBody>
              <a:bodyPr wrap="none" lIns="0" rtlCol="0">
                <a:spAutoFit/>
              </a:bodyPr>
              <a:lstStyle/>
              <a:p>
                <a:pPr algn="l" fontAlgn="base"/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+mn-lt"/>
                  </a:rPr>
                  <a:t>Institutionally</a:t>
                </a:r>
                <a:r>
                  <a:rPr lang="en-US" sz="1000" b="0" i="0" noProof="0" dirty="0">
                    <a:solidFill>
                      <a:srgbClr val="000000"/>
                    </a:solidFill>
                    <a:effectLst/>
                    <a:latin typeface="Work Sans" pitchFamily="2" charset="77"/>
                  </a:rPr>
                  <a:t> funded by:</a:t>
                </a:r>
              </a:p>
            </p:txBody>
          </p:sp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39E742A7-6ECD-F29F-C0C1-826F8C45562F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rcRect t="30047"/>
              <a:stretch/>
            </p:blipFill>
            <p:spPr>
              <a:xfrm>
                <a:off x="9665184" y="6001246"/>
                <a:ext cx="2127796" cy="481767"/>
              </a:xfrm>
              <a:prstGeom prst="rect">
                <a:avLst/>
              </a:prstGeom>
            </p:spPr>
          </p:pic>
          <p:pic>
            <p:nvPicPr>
              <p:cNvPr id="25" name="Grafik 24">
                <a:extLst>
                  <a:ext uri="{FF2B5EF4-FFF2-40B4-BE49-F238E27FC236}">
                    <a16:creationId xmlns:a16="http://schemas.microsoft.com/office/drawing/2014/main" id="{A35E7190-9D00-0F9B-C29A-91D7E8FC19E0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rcRect r="12490"/>
              <a:stretch/>
            </p:blipFill>
            <p:spPr>
              <a:xfrm>
                <a:off x="8008316" y="5871131"/>
                <a:ext cx="1269095" cy="897762"/>
              </a:xfrm>
              <a:prstGeom prst="rect">
                <a:avLst/>
              </a:prstGeom>
            </p:spPr>
          </p:pic>
        </p:grpSp>
        <p:cxnSp>
          <p:nvCxnSpPr>
            <p:cNvPr id="3" name="Gerade Verbindung 17">
              <a:extLst>
                <a:ext uri="{FF2B5EF4-FFF2-40B4-BE49-F238E27FC236}">
                  <a16:creationId xmlns:a16="http://schemas.microsoft.com/office/drawing/2014/main" id="{74950168-11E2-8A29-9E7C-0234A2DCA5A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836404" y="5769447"/>
              <a:ext cx="0" cy="785371"/>
            </a:xfrm>
            <a:prstGeom prst="line">
              <a:avLst/>
            </a:prstGeom>
            <a:ln w="3175">
              <a:solidFill>
                <a:srgbClr val="706F6F">
                  <a:alpha val="40238"/>
                </a:srgb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49148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8" userDrawn="1">
          <p15:clr>
            <a:srgbClr val="FBAE40"/>
          </p15:clr>
        </p15:guide>
        <p15:guide id="2" pos="7242" userDrawn="1">
          <p15:clr>
            <a:srgbClr val="FBAE40"/>
          </p15:clr>
        </p15:guide>
        <p15:guide id="3" orient="horz" pos="306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sv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344" imgH="345" progId="TCLayout.ActiveDocument.1">
                  <p:embed/>
                </p:oleObj>
              </mc:Choice>
              <mc:Fallback>
                <p:oleObj name="think-cell Folie" r:id="rId12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476250"/>
            <a:ext cx="8174718" cy="38119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lvl="0"/>
            <a:r>
              <a:rPr lang="en-US" noProof="0" dirty="0"/>
              <a:t>Headline, Work Sans </a:t>
            </a:r>
            <a:r>
              <a:rPr lang="en-US" noProof="0" dirty="0" err="1"/>
              <a:t>Semibold</a:t>
            </a:r>
            <a:r>
              <a:rPr lang="en-US" noProof="0" dirty="0"/>
              <a:t>, 24 pt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2060576"/>
            <a:ext cx="11234376" cy="39242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Body text</a:t>
            </a:r>
          </a:p>
          <a:p>
            <a:pPr lvl="1"/>
            <a:r>
              <a:rPr lang="en-US" noProof="0" dirty="0"/>
              <a:t>List Level 1</a:t>
            </a:r>
          </a:p>
          <a:p>
            <a:pPr lvl="2"/>
            <a:r>
              <a:rPr lang="en-US" noProof="0" dirty="0"/>
              <a:t>List Level 2</a:t>
            </a:r>
          </a:p>
          <a:p>
            <a:pPr lvl="3"/>
            <a:r>
              <a:rPr lang="en-US" noProof="0" dirty="0"/>
              <a:t>List Level 3</a:t>
            </a:r>
          </a:p>
          <a:p>
            <a:pPr lvl="4"/>
            <a:r>
              <a:rPr lang="en-US" noProof="0" dirty="0"/>
              <a:t>Ordered List</a:t>
            </a:r>
          </a:p>
          <a:p>
            <a:pPr lvl="5"/>
            <a:r>
              <a:rPr lang="en-US" noProof="0" dirty="0"/>
              <a:t>Headline</a:t>
            </a:r>
          </a:p>
          <a:p>
            <a:pPr lvl="6"/>
            <a:r>
              <a:rPr lang="en-US" noProof="0" dirty="0"/>
              <a:t>Headline Aqua</a:t>
            </a:r>
          </a:p>
          <a:p>
            <a:pPr lvl="7"/>
            <a:r>
              <a:rPr lang="en-US" noProof="0" dirty="0"/>
              <a:t>Headline Fuchsia</a:t>
            </a:r>
          </a:p>
          <a:p>
            <a:pPr lvl="8"/>
            <a:r>
              <a:rPr lang="en-US" noProof="0" dirty="0"/>
              <a:t>Headline Fresh Violet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076400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8EB7B926-6C72-460D-948D-ADFC6FA566AC}" type="datetime1">
              <a:rPr lang="en-US" smtClean="0"/>
              <a:pPr/>
              <a:t>2/18/25</a:t>
            </a:fld>
            <a:endParaRPr lang="en-US" dirty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78199" y="6455836"/>
            <a:ext cx="360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Lamarr</a:t>
            </a:r>
            <a:r>
              <a:rPr lang="en-US" dirty="0"/>
              <a:t> Institute for Machine Learning and Artificial Intelligence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257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1BA3E4-5E55-4F99-AF09-CC6D6B2539E2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8C6E7B0F-8F33-F164-FA39-ABAB488D2B9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059385" y="486410"/>
            <a:ext cx="663350" cy="957047"/>
          </a:xfrm>
          <a:prstGeom prst="rect">
            <a:avLst/>
          </a:prstGeom>
        </p:spPr>
      </p:pic>
      <p:cxnSp>
        <p:nvCxnSpPr>
          <p:cNvPr id="7" name="Gerader Verbinder 33">
            <a:extLst>
              <a:ext uri="{FF2B5EF4-FFF2-40B4-BE49-F238E27FC236}">
                <a16:creationId xmlns:a16="http://schemas.microsoft.com/office/drawing/2014/main" id="{15363AF0-F9AB-0335-61CD-3DC19BF82FF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6595" y="6193553"/>
            <a:ext cx="11235980" cy="0"/>
          </a:xfrm>
          <a:prstGeom prst="line">
            <a:avLst/>
          </a:prstGeom>
          <a:noFill/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 descr="Indico Logo">
            <a:extLst>
              <a:ext uri="{FF2B5EF4-FFF2-40B4-BE49-F238E27FC236}">
                <a16:creationId xmlns:a16="http://schemas.microsoft.com/office/drawing/2014/main" id="{AA1859CD-ED95-75DC-EFE4-7E24583F7F4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0866" y="552609"/>
            <a:ext cx="2018539" cy="824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623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6" r:id="rId6"/>
    <p:sldLayoutId id="2147483657" r:id="rId7"/>
    <p:sldLayoutId id="2147483658" r:id="rId8"/>
    <p:sldLayoutId id="2147483659" r:id="rId9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FontTx/>
        <a:buNone/>
        <a:defRPr lang="en-US" sz="1400" b="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271463" indent="-271463" algn="l" defTabSz="914400" rtl="0" eaLnBrk="1" latinLnBrk="0" hangingPunct="1">
        <a:lnSpc>
          <a:spcPct val="110000"/>
        </a:lnSpc>
        <a:spcBef>
          <a:spcPts val="900"/>
        </a:spcBef>
        <a:spcAft>
          <a:spcPts val="0"/>
        </a:spcAft>
        <a:buFont typeface="Work Sans" pitchFamily="2" charset="0"/>
        <a:buChar char="▶"/>
        <a:defRPr lang="en-US" sz="1400" b="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450850" indent="-179388" algn="l" defTabSz="914400" rtl="0" eaLnBrk="1" latinLnBrk="0" hangingPunct="1">
        <a:lnSpc>
          <a:spcPct val="110000"/>
        </a:lnSpc>
        <a:spcBef>
          <a:spcPts val="300"/>
        </a:spcBef>
        <a:buFont typeface="Symbol" panose="05050102010706020507" pitchFamily="18" charset="2"/>
        <a:buChar char="-"/>
        <a:defRPr lang="en-US" sz="1400" b="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623888" indent="-173038" algn="l" defTabSz="914400" rtl="0" eaLnBrk="1" latinLnBrk="0" hangingPunct="1">
        <a:lnSpc>
          <a:spcPct val="110000"/>
        </a:lnSpc>
        <a:spcBef>
          <a:spcPts val="300"/>
        </a:spcBef>
        <a:buClrTx/>
        <a:buFont typeface="Symbol" panose="05050102010706020507" pitchFamily="18" charset="2"/>
        <a:buChar char="-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271463" indent="-271463" algn="l" defTabSz="914400" rtl="0" eaLnBrk="1" latinLnBrk="0" hangingPunct="1">
        <a:lnSpc>
          <a:spcPct val="110000"/>
        </a:lnSpc>
        <a:spcBef>
          <a:spcPts val="900"/>
        </a:spcBef>
        <a:buClrTx/>
        <a:buFont typeface="+mj-lt"/>
        <a:buAutoNum type="arabicPeriod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600"/>
        </a:spcAft>
        <a:buClrTx/>
        <a:buFont typeface="+mj-lt"/>
        <a:buNone/>
        <a:defRPr lang="en-US" sz="1600" kern="1200" noProof="0" dirty="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600"/>
        </a:spcAft>
        <a:buClrTx/>
        <a:buFont typeface="+mj-lt"/>
        <a:buNone/>
        <a:defRPr sz="1600" kern="1200">
          <a:solidFill>
            <a:schemeClr val="accent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600"/>
        </a:spcAft>
        <a:buClrTx/>
        <a:buFont typeface="+mj-lt"/>
        <a:buNone/>
        <a:defRPr sz="1600" kern="1200">
          <a:solidFill>
            <a:schemeClr val="accent3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10000"/>
        </a:lnSpc>
        <a:spcBef>
          <a:spcPts val="900"/>
        </a:spcBef>
        <a:spcAft>
          <a:spcPts val="600"/>
        </a:spcAft>
        <a:buClrTx/>
        <a:buFont typeface="+mj-lt"/>
        <a:buNone/>
        <a:defRPr sz="1600" kern="1200">
          <a:solidFill>
            <a:schemeClr val="accent4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2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.getindico.io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7912159C-121D-8632-49D0-F204ED1816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95325" y="3330750"/>
            <a:ext cx="9360000" cy="1538113"/>
          </a:xfrm>
        </p:spPr>
        <p:txBody>
          <a:bodyPr/>
          <a:lstStyle/>
          <a:p>
            <a:pPr lvl="0"/>
            <a:r>
              <a:rPr lang="en-US" noProof="0" dirty="0"/>
              <a:t>Introduction to Indico</a:t>
            </a:r>
          </a:p>
          <a:p>
            <a:pPr lvl="1"/>
            <a:r>
              <a:rPr lang="en-US" noProof="0" dirty="0"/>
              <a:t>Lamarr’s Management Tool for Meetings, Events, Workshops and Conferences</a:t>
            </a:r>
          </a:p>
          <a:p>
            <a:pPr lvl="2"/>
            <a:r>
              <a:rPr lang="en-US" noProof="0" dirty="0"/>
              <a:t>Dr. Jens Buß</a:t>
            </a:r>
          </a:p>
        </p:txBody>
      </p:sp>
    </p:spTree>
    <p:extLst>
      <p:ext uri="{BB962C8B-B14F-4D97-AF65-F5344CB8AC3E}">
        <p14:creationId xmlns:p14="http://schemas.microsoft.com/office/powerpoint/2010/main" val="2062264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2D1F67-E769-C072-A910-6BEF7EA5A7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ntroduction</a:t>
            </a:r>
            <a:r>
              <a:rPr lang="de-DE" dirty="0"/>
              <a:t> 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AEA83B-643D-F203-1443-A1A579C887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7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1C48E77-DF25-3B32-3708-922A46282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3E011F7-2473-2BE6-E6EC-0678A9239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2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93B8DB3-E3F8-D268-B85A-C06743DFB8D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060575"/>
            <a:ext cx="5709619" cy="3924300"/>
          </a:xfrm>
        </p:spPr>
        <p:txBody>
          <a:bodyPr/>
          <a:lstStyle/>
          <a:p>
            <a:r>
              <a:rPr lang="de-DE" dirty="0" err="1"/>
              <a:t>Indico</a:t>
            </a:r>
            <a:r>
              <a:rPr lang="de-DE" dirty="0"/>
              <a:t> (Integrated Digital </a:t>
            </a:r>
            <a:r>
              <a:rPr lang="de-DE" dirty="0" err="1"/>
              <a:t>Conferencing</a:t>
            </a:r>
            <a:r>
              <a:rPr lang="de-DE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Web </a:t>
            </a:r>
            <a:r>
              <a:rPr lang="de-DE" b="1" dirty="0" err="1"/>
              <a:t>application</a:t>
            </a:r>
            <a:r>
              <a:rPr lang="de-DE" b="1" dirty="0"/>
              <a:t> </a:t>
            </a:r>
            <a:r>
              <a:rPr lang="de-DE" b="1" dirty="0" err="1"/>
              <a:t>for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</a:t>
            </a:r>
            <a:r>
              <a:rPr lang="de-DE" b="1" dirty="0" err="1"/>
              <a:t>organization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events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all </a:t>
            </a:r>
            <a:r>
              <a:rPr lang="de-DE" b="1" dirty="0" err="1"/>
              <a:t>sizes</a:t>
            </a:r>
            <a:endParaRPr lang="de-DE" dirty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/>
              <a:t>Ranging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meetings</a:t>
            </a:r>
            <a:r>
              <a:rPr lang="de-DE" dirty="0"/>
              <a:t> and </a:t>
            </a:r>
            <a:r>
              <a:rPr lang="de-DE" dirty="0" err="1"/>
              <a:t>lectur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ig</a:t>
            </a:r>
            <a:r>
              <a:rPr lang="de-DE" dirty="0"/>
              <a:t> </a:t>
            </a:r>
            <a:r>
              <a:rPr lang="de-DE" dirty="0" err="1"/>
              <a:t>conferences</a:t>
            </a:r>
            <a:r>
              <a:rPr lang="de-DE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Open Source </a:t>
            </a:r>
            <a:r>
              <a:rPr lang="de-DE" dirty="0"/>
              <a:t>Software </a:t>
            </a:r>
            <a:r>
              <a:rPr lang="de-DE" dirty="0" err="1"/>
              <a:t>developed</a:t>
            </a:r>
            <a:r>
              <a:rPr lang="de-DE" dirty="0"/>
              <a:t> at C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/>
              <a:t>Wide feature </a:t>
            </a:r>
            <a:r>
              <a:rPr lang="de-DE" b="1" dirty="0" err="1"/>
              <a:t>set</a:t>
            </a:r>
            <a:endParaRPr lang="de-DE" b="1" dirty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/>
              <a:t>Event </a:t>
            </a:r>
            <a:r>
              <a:rPr lang="de-DE" dirty="0" err="1"/>
              <a:t>landing</a:t>
            </a:r>
            <a:r>
              <a:rPr lang="de-DE" dirty="0"/>
              <a:t> </a:t>
            </a:r>
            <a:r>
              <a:rPr lang="de-DE" dirty="0" err="1"/>
              <a:t>pag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schedule</a:t>
            </a:r>
            <a:r>
              <a:rPr lang="de-DE" dirty="0"/>
              <a:t> and </a:t>
            </a:r>
            <a:r>
              <a:rPr lang="de-DE" dirty="0" err="1"/>
              <a:t>registration</a:t>
            </a:r>
            <a:endParaRPr lang="de-DE" dirty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 err="1"/>
              <a:t>Reviewing</a:t>
            </a:r>
            <a:r>
              <a:rPr lang="de-DE" dirty="0"/>
              <a:t> </a:t>
            </a:r>
            <a:r>
              <a:rPr lang="de-DE" dirty="0" err="1"/>
              <a:t>workflow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cientific</a:t>
            </a:r>
            <a:r>
              <a:rPr lang="de-DE" dirty="0"/>
              <a:t> </a:t>
            </a:r>
            <a:r>
              <a:rPr lang="de-DE" dirty="0" err="1"/>
              <a:t>papers</a:t>
            </a:r>
            <a:r>
              <a:rPr lang="de-DE" dirty="0"/>
              <a:t> and </a:t>
            </a:r>
            <a:r>
              <a:rPr lang="de-DE" dirty="0" err="1"/>
              <a:t>abstracts</a:t>
            </a:r>
            <a:r>
              <a:rPr lang="de-DE" dirty="0"/>
              <a:t> </a:t>
            </a:r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/>
              <a:t>Room </a:t>
            </a:r>
            <a:r>
              <a:rPr lang="de-DE" dirty="0" err="1"/>
              <a:t>booking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pPr marL="557213" lvl="1" indent="-285750">
              <a:buFont typeface="Arial" panose="020B0604020202020204" pitchFamily="34" charset="0"/>
              <a:buChar char="•"/>
            </a:pPr>
            <a:r>
              <a:rPr lang="de-DE" dirty="0"/>
              <a:t>Central Arch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1" dirty="0" err="1"/>
              <a:t>Documentation</a:t>
            </a:r>
            <a:r>
              <a:rPr lang="de-DE" b="1" dirty="0"/>
              <a:t>:</a:t>
            </a:r>
            <a:r>
              <a:rPr lang="de-DE" dirty="0"/>
              <a:t> </a:t>
            </a:r>
            <a:r>
              <a:rPr lang="de-DE" dirty="0">
                <a:hlinkClick r:id="rId3"/>
              </a:rPr>
              <a:t>https://</a:t>
            </a:r>
            <a:r>
              <a:rPr lang="de-DE" dirty="0" err="1">
                <a:hlinkClick r:id="rId3"/>
              </a:rPr>
              <a:t>learn.getindico.io</a:t>
            </a:r>
            <a:r>
              <a:rPr lang="de-DE" dirty="0">
                <a:hlinkClick r:id="rId3"/>
              </a:rPr>
              <a:t>/</a:t>
            </a:r>
            <a:endParaRPr lang="de-DE" dirty="0"/>
          </a:p>
          <a:p>
            <a:r>
              <a:rPr lang="de-DE" i="1" dirty="0" err="1"/>
              <a:t>Since</a:t>
            </a:r>
            <a:r>
              <a:rPr lang="de-DE" i="1" dirty="0"/>
              <a:t> March 2024 </a:t>
            </a:r>
            <a:r>
              <a:rPr lang="de-DE" i="1" dirty="0" err="1"/>
              <a:t>we</a:t>
            </a:r>
            <a:r>
              <a:rPr lang="de-DE" i="1" dirty="0"/>
              <a:t> </a:t>
            </a:r>
            <a:r>
              <a:rPr lang="de-DE" i="1" dirty="0" err="1"/>
              <a:t>run</a:t>
            </a:r>
            <a:r>
              <a:rPr lang="de-DE" i="1" dirty="0"/>
              <a:t> an </a:t>
            </a:r>
            <a:r>
              <a:rPr lang="de-DE" i="1" dirty="0" err="1"/>
              <a:t>instance</a:t>
            </a:r>
            <a:r>
              <a:rPr lang="de-DE" i="1" dirty="0"/>
              <a:t> </a:t>
            </a:r>
            <a:r>
              <a:rPr lang="de-DE" i="1" dirty="0" err="1"/>
              <a:t>of</a:t>
            </a:r>
            <a:r>
              <a:rPr lang="de-DE" i="1" dirty="0"/>
              <a:t> </a:t>
            </a:r>
            <a:r>
              <a:rPr lang="de-DE" i="1" dirty="0" err="1"/>
              <a:t>Indico</a:t>
            </a:r>
            <a:r>
              <a:rPr lang="de-DE" i="1" dirty="0"/>
              <a:t> </a:t>
            </a:r>
            <a:r>
              <a:rPr lang="de-DE" i="1" dirty="0" err="1"/>
              <a:t>as</a:t>
            </a:r>
            <a:r>
              <a:rPr lang="de-DE" i="1" dirty="0"/>
              <a:t> </a:t>
            </a:r>
            <a:r>
              <a:rPr lang="de-DE" i="1" dirty="0" err="1"/>
              <a:t>service</a:t>
            </a:r>
            <a:r>
              <a:rPr lang="de-DE" i="1" dirty="0"/>
              <a:t> </a:t>
            </a:r>
            <a:r>
              <a:rPr lang="de-DE" i="1" dirty="0" err="1"/>
              <a:t>to</a:t>
            </a:r>
            <a:r>
              <a:rPr lang="de-DE" i="1" dirty="0"/>
              <a:t>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event</a:t>
            </a:r>
            <a:r>
              <a:rPr lang="de-DE" i="1" dirty="0"/>
              <a:t> </a:t>
            </a:r>
            <a:r>
              <a:rPr lang="de-DE" i="1" dirty="0" err="1"/>
              <a:t>management</a:t>
            </a:r>
            <a:endParaRPr lang="de-DE" i="1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358F268-4F05-50C1-907C-0251AA4D34B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8409117" cy="317651"/>
          </a:xfrm>
        </p:spPr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ndico</a:t>
            </a:r>
            <a:r>
              <a:rPr lang="de-DE" dirty="0"/>
              <a:t>?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EDF9016-EC58-06EE-0791-655812F8F90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5179" y="2189613"/>
            <a:ext cx="5167396" cy="3795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329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C7F106-0279-56D0-C7F1-0C3A83703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Nomenclature</a:t>
            </a:r>
            <a:r>
              <a:rPr lang="de-DE" dirty="0"/>
              <a:t> and Central Term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8DDC81-06BD-323E-1B44-2012C54F8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7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0A1B86-D320-6EFC-B047-D67728FC25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E0BF40-5038-AABF-45EB-A5A7AEE17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3</a:t>
            </a:fld>
            <a:endParaRPr lang="en-US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CEB33A63-7F45-AC45-7746-ADC163DFD75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63173"/>
            <a:ext cx="10080000" cy="317651"/>
          </a:xfrm>
        </p:spPr>
        <p:txBody>
          <a:bodyPr/>
          <a:lstStyle/>
          <a:p>
            <a:r>
              <a:rPr lang="de-DE" dirty="0"/>
              <a:t>Further </a:t>
            </a:r>
            <a:r>
              <a:rPr lang="de-DE" dirty="0" err="1"/>
              <a:t>central</a:t>
            </a:r>
            <a:r>
              <a:rPr lang="de-DE" dirty="0"/>
              <a:t> Terms in </a:t>
            </a:r>
            <a:r>
              <a:rPr lang="de-DE" dirty="0" err="1"/>
              <a:t>Indico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5886DFF4-A940-8A70-58F0-761E96245B9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rgbClr val="009EE3"/>
          </a:solidFill>
        </p:spPr>
        <p:txBody>
          <a:bodyPr lIns="72000" rIns="72000"/>
          <a:lstStyle/>
          <a:p>
            <a:pPr rtl="0" eaLnBrk="1" latinLnBrk="0" hangingPunct="1"/>
            <a:r>
              <a:rPr lang="de-DE" sz="1800" b="1" kern="1200" noProof="0" dirty="0">
                <a:solidFill>
                  <a:schemeClr val="bg1"/>
                </a:solidFill>
                <a:effectLst/>
                <a:latin typeface="+mj-lt"/>
              </a:rPr>
              <a:t>Event</a:t>
            </a:r>
            <a:endParaRPr lang="de-DE" sz="1800" dirty="0">
              <a:solidFill>
                <a:schemeClr val="bg1"/>
              </a:solidFill>
              <a:effectLst/>
              <a:latin typeface="+mj-lt"/>
            </a:endParaRPr>
          </a:p>
          <a:p>
            <a:pPr rtl="0" eaLnBrk="1" latinLnBrk="0" hangingPunct="1"/>
            <a:r>
              <a:rPr lang="de-DE" i="1" dirty="0">
                <a:solidFill>
                  <a:schemeClr val="bg1"/>
                </a:solidFill>
              </a:rPr>
              <a:t>M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in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tructure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in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Indico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epresenting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meeting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workshop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r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rtl="0" eaLnBrk="1" latinLnBrk="0" hangingPunct="1"/>
            <a:endParaRPr lang="de-DE" i="1" dirty="0">
              <a:solidFill>
                <a:schemeClr val="bg1"/>
              </a:solidFill>
            </a:endParaRPr>
          </a:p>
          <a:p>
            <a:pPr rtl="0" eaLnBrk="1" latinLnBrk="0" hangingPunct="1"/>
            <a:r>
              <a:rPr lang="de-DE" sz="1800" b="1" kern="1200" noProof="0" dirty="0" err="1">
                <a:solidFill>
                  <a:schemeClr val="bg1"/>
                </a:solidFill>
                <a:effectLst/>
                <a:latin typeface="+mj-lt"/>
              </a:rPr>
              <a:t>Category</a:t>
            </a:r>
            <a:endParaRPr lang="de-DE" sz="1800" dirty="0">
              <a:solidFill>
                <a:schemeClr val="bg1"/>
              </a:solidFill>
              <a:effectLst/>
              <a:latin typeface="+mj-lt"/>
            </a:endParaRPr>
          </a:p>
          <a:p>
            <a:pPr rtl="0" eaLnBrk="1" latinLnBrk="0" hangingPunct="1"/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Grouping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events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r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ther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ategories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ogether</a:t>
            </a:r>
            <a:endParaRPr lang="de-DE" sz="1400" b="0" i="1" kern="1200" noProof="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0B09E2EB-A8EA-CD14-5279-15B031712D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rgbClr val="E82E82"/>
          </a:solidFill>
        </p:spPr>
        <p:txBody>
          <a:bodyPr lIns="72000" rIns="72000"/>
          <a:lstStyle/>
          <a:p>
            <a:pPr rtl="0" eaLnBrk="1" latinLnBrk="0" hangingPunct="1"/>
            <a:r>
              <a:rPr lang="de-DE" sz="1800" b="1" kern="1200" noProof="0" dirty="0" err="1">
                <a:solidFill>
                  <a:schemeClr val="bg1"/>
                </a:solidFill>
                <a:effectLst/>
                <a:latin typeface="+mj-lt"/>
              </a:rPr>
              <a:t>Contribution</a:t>
            </a:r>
            <a:endParaRPr lang="de-DE" sz="1800" dirty="0">
              <a:solidFill>
                <a:schemeClr val="bg1"/>
              </a:solidFill>
              <a:effectLst/>
              <a:latin typeface="+mj-lt"/>
            </a:endParaRPr>
          </a:p>
          <a:p>
            <a:pPr rtl="0" eaLnBrk="1" latinLnBrk="0" hangingPunct="1"/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esentation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alk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r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ther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ntent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ubmitted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by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articipants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(e.g.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within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ession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).</a:t>
            </a:r>
            <a:endParaRPr lang="de-DE" i="1" dirty="0">
              <a:solidFill>
                <a:schemeClr val="bg1"/>
              </a:solidFill>
              <a:effectLst/>
            </a:endParaRPr>
          </a:p>
          <a:p>
            <a:pPr rtl="0" eaLnBrk="1" latinLnBrk="0" hangingPunct="1"/>
            <a:endParaRPr lang="de-DE" dirty="0">
              <a:solidFill>
                <a:schemeClr val="bg1"/>
              </a:solidFill>
            </a:endParaRPr>
          </a:p>
          <a:p>
            <a:pPr rtl="0" eaLnBrk="1" latinLnBrk="0" hangingPunct="1"/>
            <a:r>
              <a:rPr lang="de-DE" sz="1800" b="1" kern="1200" noProof="0" dirty="0">
                <a:solidFill>
                  <a:schemeClr val="bg1"/>
                </a:solidFill>
                <a:effectLst/>
                <a:latin typeface="+mj-lt"/>
              </a:rPr>
              <a:t>Sub-</a:t>
            </a:r>
            <a:r>
              <a:rPr lang="de-DE" sz="1800" b="1" kern="1200" noProof="0" dirty="0" err="1">
                <a:solidFill>
                  <a:schemeClr val="bg1"/>
                </a:solidFill>
                <a:effectLst/>
                <a:latin typeface="+mj-lt"/>
              </a:rPr>
              <a:t>Contribution</a:t>
            </a:r>
            <a:r>
              <a:rPr lang="de-DE" sz="1800" b="1" kern="1200" noProof="0" dirty="0">
                <a:solidFill>
                  <a:schemeClr val="bg1"/>
                </a:solidFill>
                <a:effectLst/>
                <a:latin typeface="+mj-lt"/>
              </a:rPr>
              <a:t> </a:t>
            </a:r>
            <a:endParaRPr lang="de-DE" sz="1800" dirty="0">
              <a:solidFill>
                <a:schemeClr val="bg1"/>
              </a:solidFill>
              <a:effectLst/>
              <a:latin typeface="+mj-lt"/>
            </a:endParaRPr>
          </a:p>
          <a:p>
            <a:pPr rtl="0" eaLnBrk="1" latinLnBrk="0" hangingPunct="1"/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maller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unit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within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ntribution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useful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for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multi-part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esentations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de-DE" i="1" dirty="0">
              <a:solidFill>
                <a:schemeClr val="bg1"/>
              </a:solidFill>
              <a:effectLst/>
            </a:endParaRPr>
          </a:p>
          <a:p>
            <a:pPr rtl="0" eaLnBrk="1" latinLnBrk="0" hangingPunct="1"/>
            <a:r>
              <a:rPr lang="de-DE" dirty="0">
                <a:solidFill>
                  <a:schemeClr val="bg1"/>
                </a:solidFill>
              </a:rPr>
              <a:t>	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2BE0DBA5-92EB-452A-09A2-CDCF5C8FF4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solidFill>
            <a:srgbClr val="983082"/>
          </a:solidFill>
        </p:spPr>
        <p:txBody>
          <a:bodyPr lIns="72000" rIns="72000"/>
          <a:lstStyle/>
          <a:p>
            <a:pPr rtl="0" eaLnBrk="1" latinLnBrk="0" hangingPunct="1"/>
            <a:r>
              <a:rPr lang="de-DE" sz="1800" b="1" kern="1200" noProof="0" dirty="0">
                <a:solidFill>
                  <a:schemeClr val="bg1"/>
                </a:solidFill>
                <a:effectLst/>
                <a:latin typeface="+mj-lt"/>
              </a:rPr>
              <a:t>Session</a:t>
            </a:r>
            <a:endParaRPr lang="de-DE" sz="1800" dirty="0">
              <a:solidFill>
                <a:schemeClr val="bg1"/>
              </a:solidFill>
              <a:effectLst/>
              <a:latin typeface="+mj-lt"/>
            </a:endParaRPr>
          </a:p>
          <a:p>
            <a:pPr rtl="0" eaLnBrk="1" latinLnBrk="0" hangingPunct="1"/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Grouping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elated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ntributions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when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reating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imetable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b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</a:br>
            <a:endParaRPr lang="de-DE" dirty="0">
              <a:solidFill>
                <a:schemeClr val="bg1"/>
              </a:solidFill>
            </a:endParaRPr>
          </a:p>
          <a:p>
            <a:pPr rtl="0" eaLnBrk="1" latinLnBrk="0" hangingPunct="1"/>
            <a:r>
              <a:rPr lang="de-DE" sz="1400" b="0" u="sng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Example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: A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onference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plit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into</a:t>
            </a:r>
            <a:endParaRPr lang="de-DE" sz="1400" b="0" kern="1200" noProof="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  <a:p>
            <a:pPr marL="285750" indent="-285750" rtl="0" eaLnBrk="1" latinLnBrk="0" hangingPunct="1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</a:rPr>
              <a:t>A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welcome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ession</a:t>
            </a:r>
            <a:endParaRPr lang="de-DE" dirty="0">
              <a:solidFill>
                <a:schemeClr val="bg1"/>
              </a:solidFill>
            </a:endParaRPr>
          </a:p>
          <a:p>
            <a:pPr marL="285750" indent="-285750" rtl="0" eaLnBrk="1" latinLnBrk="0" hangingPunct="1"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bg1"/>
                </a:solidFill>
              </a:rPr>
              <a:t>A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ession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dedicated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o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alks</a:t>
            </a:r>
            <a:endParaRPr lang="de-DE" dirty="0">
              <a:solidFill>
                <a:schemeClr val="bg1"/>
              </a:solidFill>
            </a:endParaRPr>
          </a:p>
          <a:p>
            <a:pPr marL="285750" indent="-285750" rtl="0" eaLnBrk="1" latinLnBrk="0" hangingPunct="1">
              <a:buFont typeface="Arial" panose="020B0604020202020204" pitchFamily="34" charset="0"/>
              <a:buChar char="•"/>
            </a:pP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everal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parallel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workshop</a:t>
            </a:r>
            <a:r>
              <a:rPr lang="de-DE" sz="1400" b="0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essions</a:t>
            </a:r>
            <a:endParaRPr lang="de-DE" sz="1400" b="0" kern="1200" noProof="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  <a:p>
            <a:pPr marL="285750" indent="-285750" rtl="0" eaLnBrk="1" latinLnBrk="0" hangingPunct="1"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</a:endParaRPr>
          </a:p>
          <a:p>
            <a:pPr rtl="0" eaLnBrk="1" latinLnBrk="0" hangingPunct="1"/>
            <a:r>
              <a:rPr lang="de-DE" sz="1800" b="1" dirty="0">
                <a:solidFill>
                  <a:schemeClr val="bg1"/>
                </a:solidFill>
                <a:latin typeface="+mj-lt"/>
              </a:rPr>
              <a:t>S</a:t>
            </a:r>
            <a:r>
              <a:rPr lang="de-DE" sz="1800" b="1" kern="1200" noProof="0" dirty="0" err="1">
                <a:solidFill>
                  <a:schemeClr val="bg1"/>
                </a:solidFill>
                <a:effectLst/>
                <a:latin typeface="+mj-lt"/>
              </a:rPr>
              <a:t>ession</a:t>
            </a:r>
            <a:r>
              <a:rPr lang="de-DE" sz="1800" b="1" kern="1200" noProof="0" dirty="0">
                <a:solidFill>
                  <a:schemeClr val="bg1"/>
                </a:solidFill>
                <a:effectLst/>
                <a:latin typeface="+mj-lt"/>
              </a:rPr>
              <a:t> Block</a:t>
            </a:r>
            <a:endParaRPr lang="de-DE" sz="1800" dirty="0">
              <a:solidFill>
                <a:schemeClr val="bg1"/>
              </a:solidFill>
              <a:effectLst/>
              <a:latin typeface="+mj-lt"/>
            </a:endParaRPr>
          </a:p>
          <a:p>
            <a:pPr rtl="0" eaLnBrk="1" latinLnBrk="0" hangingPunct="1"/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A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cheduled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art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f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a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session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defining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its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exact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 time and </a:t>
            </a:r>
            <a:r>
              <a:rPr lang="de-DE" sz="1400" b="0" i="1" kern="1200" noProof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location</a:t>
            </a:r>
            <a:r>
              <a:rPr lang="de-DE" sz="1400" b="0" i="1" kern="1200" noProof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pPr rtl="0" eaLnBrk="1" latinLnBrk="0" hangingPunct="1"/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8032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A330B044-F653-A64C-88CA-3728591BFD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Defini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vent</a:t>
            </a:r>
            <a:r>
              <a:rPr lang="de-DE" dirty="0"/>
              <a:t> </a:t>
            </a:r>
            <a:r>
              <a:rPr lang="de-DE" dirty="0" err="1"/>
              <a:t>types</a:t>
            </a:r>
            <a:r>
              <a:rPr lang="de-DE" dirty="0"/>
              <a:t> and </a:t>
            </a:r>
            <a:r>
              <a:rPr lang="de-DE" dirty="0" err="1"/>
              <a:t>features</a:t>
            </a:r>
            <a:endParaRPr lang="de-DE" dirty="0"/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7D178DF3-A92E-D5FD-0985-5C7D6AE666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vent</a:t>
            </a:r>
            <a:r>
              <a:rPr lang="de-DE" baseline="0" dirty="0"/>
              <a:t> </a:t>
            </a:r>
            <a:r>
              <a:rPr lang="de-DE" baseline="0" dirty="0" err="1"/>
              <a:t>Type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751D64C-80D9-1D11-CAD1-28A13860E2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8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184DA43-92A8-292F-FBF6-4CC2CCCA28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A0A3882-EEC3-9CF4-49F4-B6CB2A32A7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4</a:t>
            </a:fld>
            <a:endParaRPr lang="en-US" noProof="0" dirty="0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2ED49B48-306D-9BF1-08AC-09D30E7FE1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solidFill>
            <a:srgbClr val="FFBC29"/>
          </a:solidFill>
        </p:spPr>
        <p:txBody>
          <a:bodyPr lIns="72000" rIns="72000"/>
          <a:lstStyle/>
          <a:p>
            <a:r>
              <a:rPr lang="de-DE" sz="1800" dirty="0">
                <a:solidFill>
                  <a:srgbClr val="0C122B"/>
                </a:solidFill>
                <a:latin typeface="+mj-lt"/>
              </a:rPr>
              <a:t>Common </a:t>
            </a:r>
            <a:r>
              <a:rPr lang="de-DE" sz="1800" dirty="0" err="1">
                <a:solidFill>
                  <a:srgbClr val="0C122B"/>
                </a:solidFill>
                <a:latin typeface="+mj-lt"/>
              </a:rPr>
              <a:t>features</a:t>
            </a:r>
            <a:endParaRPr lang="de-DE" sz="1800" dirty="0">
              <a:solidFill>
                <a:srgbClr val="0C122B"/>
              </a:solidFill>
              <a:latin typeface="+mj-lt"/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rgbClr val="0C122B"/>
                </a:solidFill>
              </a:rPr>
              <a:t>Registration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rgbClr val="0C122B"/>
                </a:solidFill>
              </a:rPr>
              <a:t>Management </a:t>
            </a:r>
            <a:r>
              <a:rPr lang="de-DE" dirty="0" err="1">
                <a:solidFill>
                  <a:srgbClr val="0C122B"/>
                </a:solidFill>
              </a:rPr>
              <a:t>of</a:t>
            </a:r>
            <a:r>
              <a:rPr lang="de-DE" dirty="0">
                <a:solidFill>
                  <a:srgbClr val="0C122B"/>
                </a:solidFill>
              </a:rPr>
              <a:t> </a:t>
            </a:r>
            <a:r>
              <a:rPr lang="de-DE" dirty="0" err="1">
                <a:solidFill>
                  <a:srgbClr val="0C122B"/>
                </a:solidFill>
              </a:rPr>
              <a:t>participants</a:t>
            </a:r>
            <a:endParaRPr lang="de-DE" dirty="0">
              <a:solidFill>
                <a:srgbClr val="0C122B"/>
              </a:solidFill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rgbClr val="0C122B"/>
                </a:solidFill>
              </a:rPr>
              <a:t>Surveys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rgbClr val="0C122B"/>
                </a:solidFill>
              </a:rPr>
              <a:t>Material </a:t>
            </a:r>
            <a:r>
              <a:rPr lang="de-DE" dirty="0" err="1">
                <a:solidFill>
                  <a:srgbClr val="0C122B"/>
                </a:solidFill>
              </a:rPr>
              <a:t>upload</a:t>
            </a:r>
            <a:r>
              <a:rPr lang="de-DE" dirty="0">
                <a:solidFill>
                  <a:srgbClr val="0C122B"/>
                </a:solidFill>
              </a:rPr>
              <a:t> </a:t>
            </a:r>
            <a:br>
              <a:rPr lang="de-DE" dirty="0">
                <a:solidFill>
                  <a:srgbClr val="0C122B"/>
                </a:solidFill>
              </a:rPr>
            </a:br>
            <a:r>
              <a:rPr lang="de-DE" dirty="0">
                <a:solidFill>
                  <a:srgbClr val="0C122B"/>
                </a:solidFill>
              </a:rPr>
              <a:t>(e.g. Slides)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rgbClr val="0C122B"/>
                </a:solidFill>
              </a:rPr>
              <a:t>Integration </a:t>
            </a:r>
            <a:r>
              <a:rPr lang="de-DE" dirty="0" err="1">
                <a:solidFill>
                  <a:srgbClr val="0C122B"/>
                </a:solidFill>
              </a:rPr>
              <a:t>with</a:t>
            </a:r>
            <a:r>
              <a:rPr lang="de-DE" dirty="0">
                <a:solidFill>
                  <a:srgbClr val="0C122B"/>
                </a:solidFill>
              </a:rPr>
              <a:t> </a:t>
            </a:r>
            <a:r>
              <a:rPr lang="de-DE" dirty="0" err="1">
                <a:solidFill>
                  <a:srgbClr val="0C122B"/>
                </a:solidFill>
              </a:rPr>
              <a:t>collaborative</a:t>
            </a:r>
            <a:r>
              <a:rPr lang="de-DE" dirty="0">
                <a:solidFill>
                  <a:srgbClr val="0C122B"/>
                </a:solidFill>
              </a:rPr>
              <a:t> </a:t>
            </a:r>
            <a:r>
              <a:rPr lang="de-DE" dirty="0" err="1">
                <a:solidFill>
                  <a:srgbClr val="0C122B"/>
                </a:solidFill>
              </a:rPr>
              <a:t>tools</a:t>
            </a:r>
            <a:endParaRPr lang="de-DE" dirty="0">
              <a:solidFill>
                <a:srgbClr val="0C122B"/>
              </a:solidFill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rgbClr val="0C122B"/>
                </a:solidFill>
              </a:rPr>
              <a:t>Event </a:t>
            </a:r>
            <a:r>
              <a:rPr lang="de-DE" dirty="0" err="1">
                <a:solidFill>
                  <a:srgbClr val="0C122B"/>
                </a:solidFill>
              </a:rPr>
              <a:t>reminders</a:t>
            </a:r>
            <a:endParaRPr lang="de-DE" dirty="0">
              <a:solidFill>
                <a:srgbClr val="0C122B"/>
              </a:solidFill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 err="1">
                <a:solidFill>
                  <a:srgbClr val="0C122B"/>
                </a:solidFill>
              </a:rPr>
              <a:t>Calendar</a:t>
            </a:r>
            <a:r>
              <a:rPr lang="de-DE" dirty="0">
                <a:solidFill>
                  <a:srgbClr val="0C122B"/>
                </a:solidFill>
              </a:rPr>
              <a:t> </a:t>
            </a:r>
            <a:r>
              <a:rPr lang="de-DE" dirty="0" err="1">
                <a:solidFill>
                  <a:srgbClr val="0C122B"/>
                </a:solidFill>
              </a:rPr>
              <a:t>export</a:t>
            </a:r>
            <a:endParaRPr lang="de-DE" dirty="0">
              <a:solidFill>
                <a:srgbClr val="0C122B"/>
              </a:solidFill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b="1" dirty="0">
              <a:solidFill>
                <a:srgbClr val="983082"/>
              </a:solidFill>
            </a:endParaRPr>
          </a:p>
        </p:txBody>
      </p:sp>
      <p:sp>
        <p:nvSpPr>
          <p:cNvPr id="27" name="Textplatzhalter 19">
            <a:extLst>
              <a:ext uri="{FF2B5EF4-FFF2-40B4-BE49-F238E27FC236}">
                <a16:creationId xmlns:a16="http://schemas.microsoft.com/office/drawing/2014/main" id="{6E1A77E4-D452-4ED6-DD47-517EBA16211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rgbClr val="983082"/>
          </a:solidFill>
        </p:spPr>
        <p:txBody>
          <a:bodyPr lIns="72000" rIns="72000"/>
          <a:lstStyle/>
          <a:p>
            <a:r>
              <a:rPr lang="de-DE" sz="1800" dirty="0">
                <a:solidFill>
                  <a:schemeClr val="bg1"/>
                </a:solidFill>
                <a:latin typeface="+mj-lt"/>
              </a:rPr>
              <a:t>Conference</a:t>
            </a:r>
          </a:p>
          <a:p>
            <a:pPr>
              <a:lnSpc>
                <a:spcPct val="100000"/>
              </a:lnSpc>
            </a:pPr>
            <a:r>
              <a:rPr lang="de-DE" i="1" dirty="0">
                <a:solidFill>
                  <a:schemeClr val="bg1"/>
                </a:solidFill>
              </a:rPr>
              <a:t>(Generally) multiple </a:t>
            </a:r>
            <a:r>
              <a:rPr lang="de-DE" i="1" dirty="0" err="1">
                <a:solidFill>
                  <a:schemeClr val="bg1"/>
                </a:solidFill>
              </a:rPr>
              <a:t>days</a:t>
            </a:r>
            <a:r>
              <a:rPr lang="de-DE" i="1" dirty="0">
                <a:solidFill>
                  <a:schemeClr val="bg1"/>
                </a:solidFill>
              </a:rPr>
              <a:t> and </a:t>
            </a:r>
            <a:r>
              <a:rPr lang="de-DE" i="1" dirty="0" err="1">
                <a:solidFill>
                  <a:schemeClr val="bg1"/>
                </a:solidFill>
              </a:rPr>
              <a:t>allowing</a:t>
            </a:r>
            <a:r>
              <a:rPr lang="de-DE" i="1" dirty="0">
                <a:solidFill>
                  <a:schemeClr val="bg1"/>
                </a:solidFill>
              </a:rPr>
              <a:t> multiple </a:t>
            </a:r>
            <a:r>
              <a:rPr lang="de-DE" i="1" dirty="0" err="1">
                <a:solidFill>
                  <a:schemeClr val="bg1"/>
                </a:solidFill>
              </a:rPr>
              <a:t>sessions</a:t>
            </a:r>
            <a:r>
              <a:rPr lang="de-DE" i="1" dirty="0">
                <a:solidFill>
                  <a:schemeClr val="bg1"/>
                </a:solidFill>
              </a:rPr>
              <a:t> in parallel. </a:t>
            </a:r>
            <a:br>
              <a:rPr lang="de-DE" i="1" dirty="0">
                <a:solidFill>
                  <a:schemeClr val="bg1"/>
                </a:solidFill>
              </a:rPr>
            </a:br>
            <a:br>
              <a:rPr lang="de-DE" i="1" dirty="0">
                <a:solidFill>
                  <a:schemeClr val="bg1"/>
                </a:solidFill>
              </a:rPr>
            </a:br>
            <a:r>
              <a:rPr lang="de-DE" u="sng" dirty="0">
                <a:solidFill>
                  <a:schemeClr val="bg1"/>
                </a:solidFill>
              </a:rPr>
              <a:t>Key Features: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chemeClr val="bg1"/>
                </a:solidFill>
              </a:rPr>
              <a:t>Programme </a:t>
            </a:r>
            <a:r>
              <a:rPr lang="de-DE" dirty="0" err="1">
                <a:solidFill>
                  <a:schemeClr val="bg1"/>
                </a:solidFill>
              </a:rPr>
              <a:t>definition</a:t>
            </a:r>
            <a:endParaRPr lang="de-DE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chemeClr val="bg1"/>
                </a:solidFill>
              </a:rPr>
              <a:t>Sessions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chemeClr val="bg1"/>
                </a:solidFill>
              </a:rPr>
              <a:t>Call </a:t>
            </a:r>
            <a:r>
              <a:rPr lang="de-DE" dirty="0" err="1">
                <a:solidFill>
                  <a:schemeClr val="bg1"/>
                </a:solidFill>
              </a:rPr>
              <a:t>fo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bstracts</a:t>
            </a:r>
            <a:endParaRPr lang="de-DE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chemeClr val="bg1"/>
                </a:solidFill>
              </a:rPr>
              <a:t>Abstract </a:t>
            </a:r>
            <a:r>
              <a:rPr lang="de-DE" dirty="0" err="1">
                <a:solidFill>
                  <a:schemeClr val="bg1"/>
                </a:solidFill>
              </a:rPr>
              <a:t>submission</a:t>
            </a:r>
            <a:r>
              <a:rPr lang="de-DE" dirty="0">
                <a:solidFill>
                  <a:schemeClr val="bg1"/>
                </a:solidFill>
              </a:rPr>
              <a:t>, 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chemeClr val="bg1"/>
                </a:solidFill>
              </a:rPr>
              <a:t>E-</a:t>
            </a:r>
            <a:r>
              <a:rPr lang="de-DE" dirty="0" err="1">
                <a:solidFill>
                  <a:schemeClr val="bg1"/>
                </a:solidFill>
              </a:rPr>
              <a:t>payment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facilities</a:t>
            </a:r>
            <a:r>
              <a:rPr lang="de-DE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 err="1">
                <a:solidFill>
                  <a:schemeClr val="bg1"/>
                </a:solidFill>
              </a:rPr>
              <a:t>Publication</a:t>
            </a:r>
            <a:r>
              <a:rPr lang="de-DE" dirty="0">
                <a:solidFill>
                  <a:schemeClr val="bg1"/>
                </a:solidFill>
              </a:rPr>
              <a:t> Review.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b="1" dirty="0" err="1">
                <a:solidFill>
                  <a:srgbClr val="009EE3"/>
                </a:solidFill>
              </a:rPr>
              <a:t>No</a:t>
            </a:r>
            <a:r>
              <a:rPr lang="de-DE" b="1" dirty="0">
                <a:solidFill>
                  <a:srgbClr val="009EE3"/>
                </a:solidFill>
              </a:rPr>
              <a:t> </a:t>
            </a:r>
            <a:r>
              <a:rPr lang="de-DE" b="1" dirty="0" err="1">
                <a:solidFill>
                  <a:srgbClr val="009EE3"/>
                </a:solidFill>
              </a:rPr>
              <a:t>Minutes</a:t>
            </a:r>
            <a:r>
              <a:rPr lang="de-DE" b="1" dirty="0">
                <a:solidFill>
                  <a:srgbClr val="009EE3"/>
                </a:solidFill>
              </a:rPr>
              <a:t>!</a:t>
            </a:r>
          </a:p>
          <a:p>
            <a:pPr>
              <a:lnSpc>
                <a:spcPct val="10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1" name="Textplatzhalter 18">
            <a:extLst>
              <a:ext uri="{FF2B5EF4-FFF2-40B4-BE49-F238E27FC236}">
                <a16:creationId xmlns:a16="http://schemas.microsoft.com/office/drawing/2014/main" id="{05C7DD9B-E8EC-5930-5E45-8BEB660B1BE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solidFill>
            <a:srgbClr val="E82E82"/>
          </a:solidFill>
        </p:spPr>
        <p:txBody>
          <a:bodyPr lIns="72000" rIns="72000"/>
          <a:lstStyle/>
          <a:p>
            <a:r>
              <a:rPr lang="de-DE" sz="1800" dirty="0">
                <a:solidFill>
                  <a:schemeClr val="bg1"/>
                </a:solidFill>
                <a:latin typeface="+mj-lt"/>
              </a:rPr>
              <a:t>Meeting</a:t>
            </a:r>
          </a:p>
          <a:p>
            <a:r>
              <a:rPr lang="de-DE" i="1" dirty="0">
                <a:solidFill>
                  <a:schemeClr val="bg1"/>
                </a:solidFill>
              </a:rPr>
              <a:t>(Generally) </a:t>
            </a:r>
            <a:r>
              <a:rPr lang="de-DE" i="1" dirty="0" err="1">
                <a:solidFill>
                  <a:schemeClr val="bg1"/>
                </a:solidFill>
              </a:rPr>
              <a:t>composed</a:t>
            </a:r>
            <a:r>
              <a:rPr lang="de-DE" i="1" dirty="0">
                <a:solidFill>
                  <a:schemeClr val="bg1"/>
                </a:solidFill>
              </a:rPr>
              <a:t> </a:t>
            </a:r>
            <a:r>
              <a:rPr lang="de-DE" i="1" dirty="0" err="1">
                <a:solidFill>
                  <a:schemeClr val="bg1"/>
                </a:solidFill>
              </a:rPr>
              <a:t>of</a:t>
            </a:r>
            <a:r>
              <a:rPr lang="de-DE" i="1" dirty="0">
                <a:solidFill>
                  <a:schemeClr val="bg1"/>
                </a:solidFill>
              </a:rPr>
              <a:t> </a:t>
            </a:r>
            <a:r>
              <a:rPr lang="de-DE" i="1" dirty="0" err="1">
                <a:solidFill>
                  <a:schemeClr val="bg1"/>
                </a:solidFill>
              </a:rPr>
              <a:t>many</a:t>
            </a:r>
            <a:r>
              <a:rPr lang="de-DE" i="1" dirty="0">
                <a:solidFill>
                  <a:schemeClr val="bg1"/>
                </a:solidFill>
              </a:rPr>
              <a:t> </a:t>
            </a:r>
            <a:r>
              <a:rPr lang="de-DE" i="1" dirty="0" err="1">
                <a:solidFill>
                  <a:schemeClr val="bg1"/>
                </a:solidFill>
              </a:rPr>
              <a:t>presentations</a:t>
            </a:r>
            <a:r>
              <a:rPr lang="de-DE" i="1" dirty="0">
                <a:solidFill>
                  <a:schemeClr val="bg1"/>
                </a:solidFill>
              </a:rPr>
              <a:t>. </a:t>
            </a:r>
          </a:p>
          <a:p>
            <a:endParaRPr lang="de-DE" u="sng" dirty="0">
              <a:solidFill>
                <a:schemeClr val="bg1"/>
              </a:solidFill>
            </a:endParaRPr>
          </a:p>
          <a:p>
            <a:r>
              <a:rPr lang="de-DE" u="sng" dirty="0">
                <a:solidFill>
                  <a:schemeClr val="bg1"/>
                </a:solidFill>
              </a:rPr>
              <a:t>Key Features: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 err="1">
                <a:solidFill>
                  <a:schemeClr val="bg1"/>
                </a:solidFill>
              </a:rPr>
              <a:t>Timetable</a:t>
            </a:r>
            <a:r>
              <a:rPr lang="de-DE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 err="1">
                <a:solidFill>
                  <a:schemeClr val="bg1"/>
                </a:solidFill>
              </a:rPr>
              <a:t>Minutes</a:t>
            </a:r>
            <a:endParaRPr lang="de-DE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 err="1">
                <a:solidFill>
                  <a:schemeClr val="bg1"/>
                </a:solidFill>
              </a:rPr>
              <a:t>can</a:t>
            </a:r>
            <a:r>
              <a:rPr lang="de-DE" dirty="0">
                <a:solidFill>
                  <a:schemeClr val="bg1"/>
                </a:solidFill>
              </a:rPr>
              <a:t> last multiple </a:t>
            </a:r>
            <a:r>
              <a:rPr lang="de-DE" dirty="0" err="1">
                <a:solidFill>
                  <a:schemeClr val="bg1"/>
                </a:solidFill>
              </a:rPr>
              <a:t>days</a:t>
            </a:r>
            <a:r>
              <a:rPr lang="de-DE" dirty="0">
                <a:solidFill>
                  <a:schemeClr val="bg1"/>
                </a:solidFill>
              </a:rPr>
              <a:t> 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(</a:t>
            </a:r>
            <a:r>
              <a:rPr lang="de-DE" dirty="0" err="1">
                <a:solidFill>
                  <a:schemeClr val="bg1"/>
                </a:solidFill>
              </a:rPr>
              <a:t>mostly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ingl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ay</a:t>
            </a:r>
            <a:r>
              <a:rPr lang="de-DE" dirty="0">
                <a:solidFill>
                  <a:schemeClr val="bg1"/>
                </a:solidFill>
              </a:rPr>
              <a:t>)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 err="1">
                <a:solidFill>
                  <a:schemeClr val="bg1"/>
                </a:solidFill>
              </a:rPr>
              <a:t>Contributions</a:t>
            </a:r>
            <a:r>
              <a:rPr lang="de-DE" dirty="0">
                <a:solidFill>
                  <a:schemeClr val="bg1"/>
                </a:solidFill>
              </a:rPr>
              <a:t> (</a:t>
            </a:r>
            <a:r>
              <a:rPr lang="de-DE" dirty="0" err="1">
                <a:solidFill>
                  <a:schemeClr val="bg1"/>
                </a:solidFill>
              </a:rPr>
              <a:t>talks</a:t>
            </a:r>
            <a:r>
              <a:rPr lang="de-DE" dirty="0">
                <a:solidFill>
                  <a:schemeClr val="bg1"/>
                </a:solidFill>
              </a:rPr>
              <a:t>) </a:t>
            </a:r>
            <a:r>
              <a:rPr lang="de-DE" dirty="0" err="1">
                <a:solidFill>
                  <a:schemeClr val="bg1"/>
                </a:solidFill>
              </a:rPr>
              <a:t>organized</a:t>
            </a:r>
            <a:r>
              <a:rPr lang="de-DE" dirty="0">
                <a:solidFill>
                  <a:schemeClr val="bg1"/>
                </a:solidFill>
              </a:rPr>
              <a:t> in </a:t>
            </a:r>
            <a:r>
              <a:rPr lang="de-DE" dirty="0" err="1">
                <a:solidFill>
                  <a:schemeClr val="bg1"/>
                </a:solidFill>
              </a:rPr>
              <a:t>sessions</a:t>
            </a:r>
            <a:endParaRPr lang="de-DE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4" name="Textplatzhalter 13">
            <a:extLst>
              <a:ext uri="{FF2B5EF4-FFF2-40B4-BE49-F238E27FC236}">
                <a16:creationId xmlns:a16="http://schemas.microsoft.com/office/drawing/2014/main" id="{020D0F19-762C-0AE6-4B99-640F6E42982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rgbClr val="009EE3"/>
          </a:solidFill>
        </p:spPr>
        <p:txBody>
          <a:bodyPr lIns="72000" rIns="72000"/>
          <a:lstStyle/>
          <a:p>
            <a:r>
              <a:rPr lang="de-DE" sz="1800" dirty="0" err="1">
                <a:solidFill>
                  <a:schemeClr val="bg1"/>
                </a:solidFill>
                <a:latin typeface="+mj-lt"/>
              </a:rPr>
              <a:t>Lecture</a:t>
            </a:r>
            <a:endParaRPr lang="de-DE" sz="1800" dirty="0">
              <a:solidFill>
                <a:schemeClr val="bg1"/>
              </a:solidFill>
              <a:latin typeface="+mj-lt"/>
            </a:endParaRPr>
          </a:p>
          <a:p>
            <a:r>
              <a:rPr lang="de-DE" i="1" dirty="0" err="1">
                <a:solidFill>
                  <a:schemeClr val="bg1"/>
                </a:solidFill>
              </a:rPr>
              <a:t>single</a:t>
            </a:r>
            <a:r>
              <a:rPr lang="de-DE" i="1" dirty="0">
                <a:solidFill>
                  <a:schemeClr val="bg1"/>
                </a:solidFill>
              </a:rPr>
              <a:t> </a:t>
            </a:r>
            <a:r>
              <a:rPr lang="de-DE" i="1" dirty="0" err="1">
                <a:solidFill>
                  <a:schemeClr val="bg1"/>
                </a:solidFill>
              </a:rPr>
              <a:t>presentation</a:t>
            </a:r>
            <a:r>
              <a:rPr lang="de-DE" i="1" dirty="0">
                <a:solidFill>
                  <a:schemeClr val="bg1"/>
                </a:solidFill>
              </a:rPr>
              <a:t>, </a:t>
            </a:r>
            <a:r>
              <a:rPr lang="de-DE" i="1" dirty="0" err="1">
                <a:solidFill>
                  <a:schemeClr val="bg1"/>
                </a:solidFill>
              </a:rPr>
              <a:t>with</a:t>
            </a:r>
            <a:r>
              <a:rPr lang="de-DE" i="1" dirty="0">
                <a:solidFill>
                  <a:schemeClr val="bg1"/>
                </a:solidFill>
              </a:rPr>
              <a:t> </a:t>
            </a:r>
            <a:r>
              <a:rPr lang="de-DE" i="1" dirty="0" err="1">
                <a:solidFill>
                  <a:schemeClr val="bg1"/>
                </a:solidFill>
              </a:rPr>
              <a:t>one</a:t>
            </a:r>
            <a:r>
              <a:rPr lang="de-DE" i="1" dirty="0">
                <a:solidFill>
                  <a:schemeClr val="bg1"/>
                </a:solidFill>
              </a:rPr>
              <a:t> </a:t>
            </a:r>
            <a:r>
              <a:rPr lang="de-DE" i="1" dirty="0" err="1">
                <a:solidFill>
                  <a:schemeClr val="bg1"/>
                </a:solidFill>
              </a:rPr>
              <a:t>or</a:t>
            </a:r>
            <a:r>
              <a:rPr lang="de-DE" i="1" dirty="0">
                <a:solidFill>
                  <a:schemeClr val="bg1"/>
                </a:solidFill>
              </a:rPr>
              <a:t> </a:t>
            </a:r>
            <a:r>
              <a:rPr lang="de-DE" i="1" dirty="0" err="1">
                <a:solidFill>
                  <a:schemeClr val="bg1"/>
                </a:solidFill>
              </a:rPr>
              <a:t>more</a:t>
            </a:r>
            <a:r>
              <a:rPr lang="de-DE" i="1" dirty="0">
                <a:solidFill>
                  <a:schemeClr val="bg1"/>
                </a:solidFill>
              </a:rPr>
              <a:t> </a:t>
            </a:r>
            <a:r>
              <a:rPr lang="de-DE" i="1" dirty="0" err="1">
                <a:solidFill>
                  <a:schemeClr val="bg1"/>
                </a:solidFill>
              </a:rPr>
              <a:t>speakers</a:t>
            </a:r>
            <a:endParaRPr lang="de-DE" i="1" dirty="0">
              <a:solidFill>
                <a:schemeClr val="bg1"/>
              </a:solidFill>
            </a:endParaRPr>
          </a:p>
          <a:p>
            <a:endParaRPr lang="de-DE" i="1" dirty="0">
              <a:solidFill>
                <a:schemeClr val="bg1"/>
              </a:solidFill>
            </a:endParaRPr>
          </a:p>
          <a:p>
            <a:r>
              <a:rPr lang="de-DE" u="sng" dirty="0">
                <a:solidFill>
                  <a:schemeClr val="bg1"/>
                </a:solidFill>
              </a:rPr>
              <a:t>Key Features:</a:t>
            </a:r>
            <a:endParaRPr lang="de-DE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chemeClr val="bg1"/>
                </a:solidFill>
              </a:rPr>
              <a:t>Event </a:t>
            </a:r>
            <a:r>
              <a:rPr lang="de-DE" dirty="0" err="1">
                <a:solidFill>
                  <a:schemeClr val="bg1"/>
                </a:solidFill>
              </a:rPr>
              <a:t>descriptio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bstract</a:t>
            </a:r>
            <a:endParaRPr lang="de-DE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chemeClr val="bg1"/>
                </a:solidFill>
              </a:rPr>
              <a:t>Speaker(s)‘ </a:t>
            </a:r>
            <a:r>
              <a:rPr lang="de-DE" dirty="0" err="1">
                <a:solidFill>
                  <a:schemeClr val="bg1"/>
                </a:solidFill>
              </a:rPr>
              <a:t>names</a:t>
            </a:r>
            <a:r>
              <a:rPr lang="de-DE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dirty="0">
                <a:solidFill>
                  <a:schemeClr val="bg1"/>
                </a:solidFill>
              </a:rPr>
              <a:t>May </a:t>
            </a:r>
            <a:r>
              <a:rPr lang="de-DE" dirty="0" err="1">
                <a:solidFill>
                  <a:schemeClr val="bg1"/>
                </a:solidFill>
              </a:rPr>
              <a:t>re-occu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ve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everal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days</a:t>
            </a:r>
            <a:endParaRPr lang="de-DE" dirty="0">
              <a:solidFill>
                <a:schemeClr val="bg1"/>
              </a:solidFill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ü"/>
            </a:pPr>
            <a:r>
              <a:rPr lang="de-DE" b="1" dirty="0" err="1">
                <a:solidFill>
                  <a:srgbClr val="983082"/>
                </a:solidFill>
              </a:rPr>
              <a:t>No</a:t>
            </a:r>
            <a:r>
              <a:rPr lang="de-DE" b="1" dirty="0">
                <a:solidFill>
                  <a:srgbClr val="983082"/>
                </a:solidFill>
              </a:rPr>
              <a:t> Time Table!</a:t>
            </a:r>
          </a:p>
        </p:txBody>
      </p:sp>
    </p:spTree>
    <p:extLst>
      <p:ext uri="{BB962C8B-B14F-4D97-AF65-F5344CB8AC3E}">
        <p14:creationId xmlns:p14="http://schemas.microsoft.com/office/powerpoint/2010/main" val="2483314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A3FF9A76-56E8-1C95-4CC6-79EF0AE56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: </a:t>
            </a:r>
            <a:r>
              <a:rPr lang="de-DE" dirty="0" err="1"/>
              <a:t>Le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5F10714-9516-151C-910A-C63FFD7098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8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D789430-FAEB-E3B8-991E-1FEEAC144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C78A68-6125-D9C6-A1A8-ADA712D24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5</a:t>
            </a:fld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0AF1642-5166-EE19-BC8D-9B48DEBB85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Creating</a:t>
            </a:r>
            <a:r>
              <a:rPr lang="de-DE" dirty="0">
                <a:solidFill>
                  <a:srgbClr val="0C122B"/>
                </a:solidFill>
              </a:rPr>
              <a:t> a </a:t>
            </a:r>
            <a:r>
              <a:rPr lang="de-DE" dirty="0" err="1">
                <a:solidFill>
                  <a:srgbClr val="0C122B"/>
                </a:solidFill>
              </a:rPr>
              <a:t>Lecture</a:t>
            </a:r>
            <a:endParaRPr lang="de-DE" dirty="0">
              <a:solidFill>
                <a:srgbClr val="0C122B"/>
              </a:solidFill>
            </a:endParaRP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Filling</a:t>
            </a:r>
            <a:r>
              <a:rPr lang="de-DE" dirty="0">
                <a:solidFill>
                  <a:srgbClr val="0C122B"/>
                </a:solidFill>
              </a:rPr>
              <a:t> </a:t>
            </a:r>
            <a:r>
              <a:rPr lang="de-DE" dirty="0" err="1">
                <a:solidFill>
                  <a:srgbClr val="0C122B"/>
                </a:solidFill>
              </a:rPr>
              <a:t>the</a:t>
            </a:r>
            <a:r>
              <a:rPr lang="de-DE" dirty="0">
                <a:solidFill>
                  <a:srgbClr val="0C122B"/>
                </a:solidFill>
              </a:rPr>
              <a:t> Basic </a:t>
            </a:r>
            <a:r>
              <a:rPr lang="de-DE" dirty="0" err="1">
                <a:solidFill>
                  <a:srgbClr val="0C122B"/>
                </a:solidFill>
              </a:rPr>
              <a:t>information</a:t>
            </a:r>
            <a:endParaRPr lang="de-DE" dirty="0">
              <a:solidFill>
                <a:srgbClr val="0C122B"/>
              </a:solidFill>
            </a:endParaRPr>
          </a:p>
          <a:p>
            <a:pPr marL="28575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Adding</a:t>
            </a:r>
            <a:r>
              <a:rPr lang="de-DE" dirty="0">
                <a:solidFill>
                  <a:srgbClr val="0C122B"/>
                </a:solidFill>
              </a:rPr>
              <a:t> Material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>
                <a:solidFill>
                  <a:srgbClr val="0C122B"/>
                </a:solidFill>
              </a:rPr>
              <a:t>Settings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Protection</a:t>
            </a:r>
            <a:endParaRPr lang="de-DE" dirty="0">
              <a:solidFill>
                <a:srgbClr val="0C122B"/>
              </a:solidFill>
            </a:endParaRPr>
          </a:p>
          <a:p>
            <a:pPr marL="285750" lvl="0" indent="-285750">
              <a:buFont typeface="Systemschrift Normal"/>
              <a:buChar char="🔲"/>
            </a:pPr>
            <a:r>
              <a:rPr lang="de-DE" dirty="0">
                <a:solidFill>
                  <a:srgbClr val="0C122B"/>
                </a:solidFill>
              </a:rPr>
              <a:t>Privacy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Participants</a:t>
            </a:r>
            <a:endParaRPr lang="de-DE" dirty="0">
              <a:solidFill>
                <a:srgbClr val="0C122B"/>
              </a:solidFill>
            </a:endParaRP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Reminders</a:t>
            </a:r>
            <a:endParaRPr lang="de-DE" dirty="0">
              <a:solidFill>
                <a:srgbClr val="0C122B"/>
              </a:solidFill>
            </a:endParaRPr>
          </a:p>
          <a:p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4A83508-8710-46D6-9A1A-B0486FECB6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DCA24DA-A3C0-AA38-3618-657CA869B7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96671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C21B451-DE03-BCEA-6BAA-1495970299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: Meetin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2E5B551-7410-A3B8-D4A4-F4578DDAF3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8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5337C88-641D-63E8-9B19-D6389E7BF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668B8D-E8BA-FF71-A378-159B314C04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6</a:t>
            </a:fld>
            <a:endParaRPr lang="en-US" noProof="0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8C2120E-107D-D8B2-5CA0-A9F3739ADC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Creating</a:t>
            </a:r>
            <a:r>
              <a:rPr lang="de-DE" dirty="0">
                <a:solidFill>
                  <a:srgbClr val="0C122B"/>
                </a:solidFill>
              </a:rPr>
              <a:t> a Meeting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Defining</a:t>
            </a:r>
            <a:r>
              <a:rPr lang="de-DE" dirty="0">
                <a:solidFill>
                  <a:srgbClr val="0C122B"/>
                </a:solidFill>
              </a:rPr>
              <a:t> a Chair Person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Timetable</a:t>
            </a:r>
            <a:endParaRPr lang="de-DE" dirty="0">
              <a:solidFill>
                <a:srgbClr val="0C122B"/>
              </a:solidFill>
            </a:endParaRP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Contributions</a:t>
            </a:r>
            <a:r>
              <a:rPr lang="de-DE" dirty="0">
                <a:solidFill>
                  <a:srgbClr val="0C122B"/>
                </a:solidFill>
              </a:rPr>
              <a:t> and Sub </a:t>
            </a:r>
            <a:r>
              <a:rPr lang="de-DE" dirty="0" err="1">
                <a:solidFill>
                  <a:srgbClr val="0C122B"/>
                </a:solidFill>
              </a:rPr>
              <a:t>contributions</a:t>
            </a:r>
            <a:endParaRPr lang="de-DE" dirty="0">
              <a:solidFill>
                <a:srgbClr val="0C122B"/>
              </a:solidFill>
            </a:endParaRP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Minutes</a:t>
            </a:r>
            <a:endParaRPr lang="de-DE" dirty="0">
              <a:solidFill>
                <a:srgbClr val="0C122B"/>
              </a:solidFill>
            </a:endParaRPr>
          </a:p>
          <a:p>
            <a:pPr lvl="0"/>
            <a:endParaRPr lang="de-DE" dirty="0">
              <a:solidFill>
                <a:srgbClr val="0C122B"/>
              </a:solidFill>
            </a:endParaRPr>
          </a:p>
          <a:p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578F46B-0960-34F8-9DDB-0F31CFE15C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b="1" dirty="0"/>
              <a:t>Features </a:t>
            </a:r>
            <a:r>
              <a:rPr lang="de-DE" b="1" dirty="0" err="1"/>
              <a:t>Available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Chairpersons in </a:t>
            </a:r>
            <a:r>
              <a:rPr lang="de-DE" b="1" dirty="0" err="1"/>
              <a:t>Indico</a:t>
            </a:r>
            <a:r>
              <a:rPr lang="de-DE" b="1" dirty="0"/>
              <a:t>: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ccess </a:t>
            </a:r>
            <a:r>
              <a:rPr lang="de-DE" dirty="0" err="1"/>
              <a:t>to</a:t>
            </a:r>
            <a:r>
              <a:rPr lang="de-DE" dirty="0"/>
              <a:t> Session Management Tools – Ability </a:t>
            </a:r>
            <a:r>
              <a:rPr lang="de-DE" dirty="0" err="1"/>
              <a:t>to</a:t>
            </a:r>
            <a:r>
              <a:rPr lang="de-DE" dirty="0"/>
              <a:t> manage </a:t>
            </a:r>
            <a:r>
              <a:rPr lang="de-DE" dirty="0" err="1"/>
              <a:t>session</a:t>
            </a:r>
            <a:r>
              <a:rPr lang="de-DE" dirty="0"/>
              <a:t> </a:t>
            </a:r>
            <a:r>
              <a:rPr lang="de-DE" dirty="0" err="1"/>
              <a:t>content</a:t>
            </a:r>
            <a:r>
              <a:rPr lang="de-DE" dirty="0"/>
              <a:t> and </a:t>
            </a:r>
            <a:r>
              <a:rPr lang="de-DE" dirty="0" err="1"/>
              <a:t>speaker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Timetable</a:t>
            </a:r>
            <a:r>
              <a:rPr lang="de-DE" dirty="0"/>
              <a:t> Control – </a:t>
            </a:r>
            <a:r>
              <a:rPr lang="de-DE" dirty="0" err="1"/>
              <a:t>Adjust</a:t>
            </a:r>
            <a:r>
              <a:rPr lang="de-DE" dirty="0"/>
              <a:t> </a:t>
            </a:r>
            <a:r>
              <a:rPr lang="de-DE" dirty="0" err="1"/>
              <a:t>session</a:t>
            </a:r>
            <a:r>
              <a:rPr lang="de-DE" dirty="0"/>
              <a:t> and </a:t>
            </a:r>
            <a:r>
              <a:rPr lang="de-DE" dirty="0" err="1"/>
              <a:t>contribution</a:t>
            </a:r>
            <a:r>
              <a:rPr lang="de-DE" dirty="0"/>
              <a:t> </a:t>
            </a:r>
            <a:r>
              <a:rPr lang="de-DE" dirty="0" err="1"/>
              <a:t>timings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Contribution</a:t>
            </a:r>
            <a:r>
              <a:rPr lang="de-DE" dirty="0"/>
              <a:t> </a:t>
            </a:r>
            <a:r>
              <a:rPr lang="de-DE" dirty="0" err="1"/>
              <a:t>Oversight</a:t>
            </a:r>
            <a:r>
              <a:rPr lang="de-DE" dirty="0"/>
              <a:t> – View and manage </a:t>
            </a:r>
            <a:r>
              <a:rPr lang="de-DE" dirty="0" err="1"/>
              <a:t>presentations</a:t>
            </a:r>
            <a:r>
              <a:rPr lang="de-DE" dirty="0"/>
              <a:t> and </a:t>
            </a:r>
            <a:r>
              <a:rPr lang="de-DE" dirty="0" err="1"/>
              <a:t>abstracts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ssion</a:t>
            </a:r>
            <a:r>
              <a:rPr lang="de-DE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articipant</a:t>
            </a:r>
            <a:r>
              <a:rPr lang="de-DE" dirty="0"/>
              <a:t> Interaction – Monitor and </a:t>
            </a:r>
            <a:r>
              <a:rPr lang="de-DE" dirty="0" err="1"/>
              <a:t>engag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attendees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ession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28CAC8D-E5C5-468F-CB80-CA8C52DEA74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3696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6B012D27-EBD3-C024-ECF4-6E64B0A02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Example</a:t>
            </a:r>
            <a:r>
              <a:rPr lang="de-DE" dirty="0"/>
              <a:t> Conferenc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B617185-B1F9-2696-F18E-5858BD018A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8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A2ECDC-9704-4776-819C-C14A98FD3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2CFF44-E6D9-F27C-B33F-95CB7E6867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7</a:t>
            </a:fld>
            <a:endParaRPr lang="en-US" noProof="0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BF1A754-303B-DBA1-9630-007492FE54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Creating</a:t>
            </a:r>
            <a:r>
              <a:rPr lang="de-DE" dirty="0">
                <a:solidFill>
                  <a:srgbClr val="0C122B"/>
                </a:solidFill>
              </a:rPr>
              <a:t> a Conference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>
                <a:solidFill>
                  <a:srgbClr val="0C122B"/>
                </a:solidFill>
              </a:rPr>
              <a:t>Settings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Defining</a:t>
            </a:r>
            <a:r>
              <a:rPr lang="de-DE" dirty="0">
                <a:solidFill>
                  <a:srgbClr val="0C122B"/>
                </a:solidFill>
              </a:rPr>
              <a:t> </a:t>
            </a:r>
            <a:r>
              <a:rPr lang="de-DE" dirty="0" err="1">
                <a:solidFill>
                  <a:srgbClr val="0C122B"/>
                </a:solidFill>
              </a:rPr>
              <a:t>the</a:t>
            </a:r>
            <a:r>
              <a:rPr lang="de-DE" dirty="0">
                <a:solidFill>
                  <a:srgbClr val="0C122B"/>
                </a:solidFill>
              </a:rPr>
              <a:t> Programm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Creating</a:t>
            </a:r>
            <a:r>
              <a:rPr lang="de-DE" dirty="0">
                <a:solidFill>
                  <a:srgbClr val="0C122B"/>
                </a:solidFill>
              </a:rPr>
              <a:t> Sessions</a:t>
            </a:r>
          </a:p>
          <a:p>
            <a:pPr marL="285750" indent="-285750">
              <a:buFont typeface="Systemschrift Normal"/>
              <a:buChar char="🔲"/>
            </a:pPr>
            <a:r>
              <a:rPr lang="de-DE" dirty="0">
                <a:solidFill>
                  <a:srgbClr val="0C122B"/>
                </a:solidFill>
              </a:rPr>
              <a:t>Time Table</a:t>
            </a:r>
          </a:p>
          <a:p>
            <a:pPr marL="28575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Contributions</a:t>
            </a:r>
            <a:endParaRPr lang="de-DE" dirty="0">
              <a:solidFill>
                <a:srgbClr val="0C122B"/>
              </a:solidFill>
            </a:endParaRPr>
          </a:p>
          <a:p>
            <a:pPr marL="285750" indent="-285750">
              <a:buFont typeface="Systemschrift Normal"/>
              <a:buChar char="🔲"/>
            </a:pPr>
            <a:r>
              <a:rPr lang="de-DE" dirty="0" err="1">
                <a:solidFill>
                  <a:srgbClr val="0C122B"/>
                </a:solidFill>
              </a:rPr>
              <a:t>Registrations</a:t>
            </a:r>
            <a:endParaRPr lang="de-DE" dirty="0">
              <a:solidFill>
                <a:srgbClr val="0C122B"/>
              </a:solidFill>
            </a:endParaRPr>
          </a:p>
          <a:p>
            <a:pPr marL="285750" indent="-285750">
              <a:buFont typeface="Systemschrift Normal"/>
              <a:buChar char="🔲"/>
            </a:pPr>
            <a:r>
              <a:rPr lang="de-DE" dirty="0">
                <a:solidFill>
                  <a:srgbClr val="0C122B"/>
                </a:solidFill>
              </a:rPr>
              <a:t>PC </a:t>
            </a:r>
            <a:r>
              <a:rPr lang="de-DE" dirty="0" err="1">
                <a:solidFill>
                  <a:srgbClr val="0C122B"/>
                </a:solidFill>
              </a:rPr>
              <a:t>Roles</a:t>
            </a:r>
            <a:endParaRPr lang="de-DE" dirty="0">
              <a:solidFill>
                <a:srgbClr val="0C122B"/>
              </a:solidFill>
            </a:endParaRPr>
          </a:p>
          <a:p>
            <a:pPr marL="285750" indent="-285750">
              <a:buFont typeface="Systemschrift Normal"/>
              <a:buChar char="🔲"/>
            </a:pPr>
            <a:r>
              <a:rPr lang="de-DE" dirty="0">
                <a:solidFill>
                  <a:srgbClr val="0C122B"/>
                </a:solidFill>
              </a:rPr>
              <a:t>Custom </a:t>
            </a:r>
            <a:r>
              <a:rPr lang="de-DE" dirty="0" err="1">
                <a:solidFill>
                  <a:srgbClr val="0C122B"/>
                </a:solidFill>
              </a:rPr>
              <a:t>Roles</a:t>
            </a:r>
            <a:endParaRPr lang="de-DE" dirty="0">
              <a:solidFill>
                <a:srgbClr val="0C122B"/>
              </a:solidFill>
            </a:endParaRPr>
          </a:p>
          <a:p>
            <a:pPr marL="285750" lvl="0" indent="-285750">
              <a:buFont typeface="Systemschrift Normal"/>
              <a:buChar char="🔲"/>
            </a:pPr>
            <a:endParaRPr lang="de-DE" dirty="0">
              <a:solidFill>
                <a:srgbClr val="0C122B"/>
              </a:solidFill>
            </a:endParaRPr>
          </a:p>
          <a:p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6B7B212-A6FA-6FF1-7A43-16BC1D0AE02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CF42E27-0F4F-4CE1-59B0-FCBB12CA26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53844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6A3004-0640-ED14-0049-14DC3CFE4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ore Featur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C1045A-7321-751A-CB14-31C4EB8962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8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362A933-E1BE-A46C-15E7-FF4F05957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5AB8ED9-9ABF-23DE-36CC-CA3AFA267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8</a:t>
            </a:fld>
            <a:endParaRPr lang="en-US" noProof="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059CCF1-E9B2-2806-ED35-6387667D57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285750" lvl="0" indent="-285750">
              <a:buFont typeface="Systemschrift Normal"/>
              <a:buChar char="🔲"/>
            </a:pPr>
            <a:r>
              <a:rPr lang="de-DE" dirty="0"/>
              <a:t>Surveys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/>
              <a:t>Email Service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/>
              <a:t>Reminders</a:t>
            </a:r>
            <a:endParaRPr lang="de-DE" dirty="0"/>
          </a:p>
          <a:p>
            <a:pPr marL="285750" lvl="0" indent="-285750">
              <a:buFont typeface="Systemschrift Normal"/>
              <a:buChar char="🔲"/>
            </a:pPr>
            <a:r>
              <a:rPr lang="de-DE" dirty="0"/>
              <a:t>Logs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/>
              <a:t>Room Booking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/>
              <a:t>Layout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/>
              <a:t>Nametags</a:t>
            </a:r>
            <a:r>
              <a:rPr lang="de-DE" dirty="0"/>
              <a:t> and Posters</a:t>
            </a:r>
          </a:p>
          <a:p>
            <a:pPr marL="285750" lvl="0" indent="-285750">
              <a:buFont typeface="Systemschrift Normal"/>
              <a:buChar char="🔲"/>
            </a:pPr>
            <a:r>
              <a:rPr lang="de-DE" dirty="0" err="1"/>
              <a:t>Document</a:t>
            </a:r>
            <a:r>
              <a:rPr lang="de-DE" dirty="0"/>
              <a:t> Templates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5909BB6-0245-C371-4F1C-0E73D2FAB26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6FA0682-5F76-8F02-EC6B-C8C87DEB7D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533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3F7D87-D77F-A50E-BFE0-3830AC649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y Profil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B6F3269-54BD-E750-4F94-CB48F66070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B926-6C72-460D-948D-ADFC6FA566AC}" type="datetime1">
              <a:rPr lang="en-US" noProof="0" smtClean="0"/>
              <a:pPr/>
              <a:t>2/18/25</a:t>
            </a:fld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34537D0-FE9D-989A-9AF4-EBEB30425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© Lamarr Institute for Machine Learning and Artificial Intelligence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D40FEAF-C71D-F96D-ED55-AB63F1096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01BA3E4-5E55-4F99-AF09-CC6D6B2539E2}" type="slidenum">
              <a:rPr lang="en-US" noProof="0" smtClean="0"/>
              <a:pPr algn="r"/>
              <a:t>9</a:t>
            </a:fld>
            <a:endParaRPr lang="en-US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6A77373-E1CE-8FCC-0DA4-160DDE3B5E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199" y="1265237"/>
            <a:ext cx="8683301" cy="4758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5775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marr Institut">
  <a:themeElements>
    <a:clrScheme name="Lamarr-Institut">
      <a:dk1>
        <a:srgbClr val="0C122B"/>
      </a:dk1>
      <a:lt1>
        <a:sysClr val="window" lastClr="FFFFFF"/>
      </a:lt1>
      <a:dk2>
        <a:srgbClr val="0C122B"/>
      </a:dk2>
      <a:lt2>
        <a:srgbClr val="FFFFFF"/>
      </a:lt2>
      <a:accent1>
        <a:srgbClr val="009EE3"/>
      </a:accent1>
      <a:accent2>
        <a:srgbClr val="59BDF7"/>
      </a:accent2>
      <a:accent3>
        <a:srgbClr val="E82E82"/>
      </a:accent3>
      <a:accent4>
        <a:srgbClr val="983082"/>
      </a:accent4>
      <a:accent5>
        <a:srgbClr val="35CDB4"/>
      </a:accent5>
      <a:accent6>
        <a:srgbClr val="FFBC29"/>
      </a:accent6>
      <a:hlink>
        <a:srgbClr val="009EE3"/>
      </a:hlink>
      <a:folHlink>
        <a:srgbClr val="983082"/>
      </a:folHlink>
    </a:clrScheme>
    <a:fontScheme name="Lamarr-Institut">
      <a:majorFont>
        <a:latin typeface="Work Sans SemiBold"/>
        <a:ea typeface=""/>
        <a:cs typeface=""/>
      </a:majorFont>
      <a:minorFont>
        <a:latin typeface="Work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9EE3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9EE3"/>
          </a:solidFill>
          <a:headEnd type="none" w="med" len="med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ts val="1960"/>
          </a:lnSpc>
          <a:buClr>
            <a:schemeClr val="accent1"/>
          </a:buClr>
          <a:defRPr sz="1400" dirty="0" smtClean="0"/>
        </a:defPPr>
      </a:lstStyle>
    </a:txDef>
  </a:objectDefaults>
  <a:extraClrSchemeLst/>
  <a:custClrLst>
    <a:custClr>
      <a:srgbClr val="0C122B"/>
    </a:custClr>
    <a:custClr>
      <a:srgbClr val="FFFFFF"/>
    </a:custClr>
    <a:custClr>
      <a:srgbClr val="009EE3"/>
    </a:custClr>
    <a:custClr>
      <a:srgbClr val="59BDF7"/>
    </a:custClr>
    <a:custClr>
      <a:srgbClr val="E82E82"/>
    </a:custClr>
    <a:custClr>
      <a:srgbClr val="983082"/>
    </a:custClr>
    <a:custClr>
      <a:srgbClr val="4A4AD8"/>
    </a:custClr>
    <a:custClr>
      <a:srgbClr val="35CDB4"/>
    </a:custClr>
    <a:custClr>
      <a:srgbClr val="FFBC29"/>
    </a:custClr>
    <a:custClr>
      <a:srgbClr val="EC6469"/>
    </a:custClr>
    <a:custClr>
      <a:srgbClr val="706F6F"/>
    </a:custClr>
  </a:custClrLst>
  <a:extLst>
    <a:ext uri="{05A4C25C-085E-4340-85A3-A5531E510DB2}">
      <thm15:themeFamily xmlns:thm15="http://schemas.microsoft.com/office/thememl/2012/main" name="01_Lamarr_PowerPoint_Master_Template.potx" id="{C81D1A75-B43E-4AE8-87FA-40C49100F4DD}" vid="{49068C5C-35A2-490B-B0AD-EE3C7608A20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amarr Institut</Template>
  <TotalTime>0</TotalTime>
  <Words>561</Words>
  <Application>Microsoft Macintosh PowerPoint</Application>
  <PresentationFormat>Breitbild</PresentationFormat>
  <Paragraphs>146</Paragraphs>
  <Slides>9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7" baseType="lpstr">
      <vt:lpstr>Arial</vt:lpstr>
      <vt:lpstr>Symbol</vt:lpstr>
      <vt:lpstr>Systemschrift Normal</vt:lpstr>
      <vt:lpstr>Wingdings</vt:lpstr>
      <vt:lpstr>Work Sans</vt:lpstr>
      <vt:lpstr>Work Sans SemiBold</vt:lpstr>
      <vt:lpstr>Lamarr Institut</vt:lpstr>
      <vt:lpstr>think-cell Folie</vt:lpstr>
      <vt:lpstr>PowerPoint-Präsentation</vt:lpstr>
      <vt:lpstr>Introduction </vt:lpstr>
      <vt:lpstr>Nomenclature and Central Terms</vt:lpstr>
      <vt:lpstr>Event Types</vt:lpstr>
      <vt:lpstr>Example: Lecture</vt:lpstr>
      <vt:lpstr>Example: Meeting</vt:lpstr>
      <vt:lpstr>Example Conference</vt:lpstr>
      <vt:lpstr>More Features</vt:lpstr>
      <vt:lpstr>My Profil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ens Buss</dc:creator>
  <cp:lastModifiedBy>Jens Buss</cp:lastModifiedBy>
  <cp:revision>6</cp:revision>
  <dcterms:created xsi:type="dcterms:W3CDTF">2025-02-17T22:39:08Z</dcterms:created>
  <dcterms:modified xsi:type="dcterms:W3CDTF">2025-02-18T00:53:13Z</dcterms:modified>
</cp:coreProperties>
</file>